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9"/>
  </p:notesMasterIdLst>
  <p:handoutMasterIdLst>
    <p:handoutMasterId r:id="rId30"/>
  </p:handoutMasterIdLst>
  <p:sldIdLst>
    <p:sldId id="572" r:id="rId2"/>
    <p:sldId id="549" r:id="rId3"/>
    <p:sldId id="550" r:id="rId4"/>
    <p:sldId id="551" r:id="rId5"/>
    <p:sldId id="557" r:id="rId6"/>
    <p:sldId id="515" r:id="rId7"/>
    <p:sldId id="552" r:id="rId8"/>
    <p:sldId id="562" r:id="rId9"/>
    <p:sldId id="563" r:id="rId10"/>
    <p:sldId id="559" r:id="rId11"/>
    <p:sldId id="561" r:id="rId12"/>
    <p:sldId id="560" r:id="rId13"/>
    <p:sldId id="522" r:id="rId14"/>
    <p:sldId id="523" r:id="rId15"/>
    <p:sldId id="524" r:id="rId16"/>
    <p:sldId id="525" r:id="rId17"/>
    <p:sldId id="526" r:id="rId18"/>
    <p:sldId id="568" r:id="rId19"/>
    <p:sldId id="571" r:id="rId20"/>
    <p:sldId id="546" r:id="rId21"/>
    <p:sldId id="569" r:id="rId22"/>
    <p:sldId id="570" r:id="rId23"/>
    <p:sldId id="574" r:id="rId24"/>
    <p:sldId id="575" r:id="rId25"/>
    <p:sldId id="452" r:id="rId26"/>
    <p:sldId id="564" r:id="rId27"/>
    <p:sldId id="565" r:id="rId28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53565A"/>
    <a:srgbClr val="00AEC7"/>
    <a:srgbClr val="4174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97" autoAdjust="0"/>
    <p:restoredTop sz="81544" autoAdjust="0"/>
  </p:normalViewPr>
  <p:slideViewPr>
    <p:cSldViewPr>
      <p:cViewPr varScale="1">
        <p:scale>
          <a:sx n="113" d="100"/>
          <a:sy n="113" d="100"/>
        </p:scale>
        <p:origin x="-900" y="-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98" d="100"/>
          <a:sy n="98" d="100"/>
        </p:scale>
        <p:origin x="-3516" y="-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45"/>
      <c:hPercent val="40"/>
      <c:rotY val="90"/>
      <c:depthPercent val="20"/>
      <c:rAngAx val="1"/>
    </c:view3D>
    <c:floor>
      <c:thickness val="0"/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thickness val="0"/>
      <c:spPr>
        <a:noFill/>
        <a:ln w="25400">
          <a:noFill/>
        </a:ln>
      </c:spPr>
    </c:sideWall>
    <c:backWall>
      <c:thickness val="0"/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0.16372430828903994"/>
          <c:y val="2.0930232558140041E-2"/>
          <c:w val="0.75528335784006551"/>
          <c:h val="0.7631937005945576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eva</c:v>
                </c:pt>
              </c:strCache>
            </c:strRef>
          </c:tx>
          <c:spPr>
            <a:solidFill>
              <a:schemeClr val="accent1"/>
            </a:solidFill>
            <a:ln w="15471">
              <a:noFill/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1.4138826455944957E-2"/>
                  <c:y val="-1.5569129384568793E-2"/>
                </c:manualLayout>
              </c:layout>
              <c:tx>
                <c:rich>
                  <a:bodyPr/>
                  <a:lstStyle/>
                  <a:p>
                    <a:pPr>
                      <a:defRPr sz="1400" b="1" i="0" u="none" strike="noStrike" baseline="0">
                        <a:solidFill>
                          <a:schemeClr val="tx1"/>
                        </a:solidFill>
                        <a:latin typeface="MS P????"/>
                        <a:ea typeface="MS P????"/>
                        <a:cs typeface="MS P????"/>
                      </a:defRPr>
                    </a:pPr>
                    <a:r>
                      <a:rPr lang="en-US" sz="1400" dirty="0" smtClean="0"/>
                      <a:t>Teva</a:t>
                    </a:r>
                  </a:p>
                  <a:p>
                    <a:pPr>
                      <a:defRPr sz="1400" b="1" i="0" u="none" strike="noStrike" baseline="0">
                        <a:solidFill>
                          <a:schemeClr val="tx1"/>
                        </a:solidFill>
                        <a:latin typeface="MS P????"/>
                        <a:ea typeface="MS P????"/>
                        <a:cs typeface="MS P????"/>
                      </a:defRPr>
                    </a:pPr>
                    <a:r>
                      <a:rPr lang="en-US" sz="1400" dirty="0" smtClean="0"/>
                      <a:t>11.9%</a:t>
                    </a:r>
                    <a:endParaRPr lang="en-US" sz="1400" dirty="0"/>
                  </a:p>
                </c:rich>
              </c:tx>
              <c:spPr>
                <a:noFill/>
                <a:ln w="30942"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Mode val="edge"/>
                  <c:yMode val="edge"/>
                  <c:x val="0.21724137931034732"/>
                  <c:y val="0.455813953488372"/>
                </c:manualLayout>
              </c:layout>
              <c:spPr>
                <a:noFill/>
                <a:ln w="30942">
                  <a:noFill/>
                </a:ln>
              </c:spPr>
              <c:txPr>
                <a:bodyPr/>
                <a:lstStyle/>
                <a:p>
                  <a:pPr>
                    <a:defRPr sz="1462" b="1" i="0" u="none" strike="noStrike" baseline="0">
                      <a:solidFill>
                        <a:schemeClr val="tx1"/>
                      </a:solidFill>
                      <a:latin typeface="MS P????"/>
                      <a:ea typeface="MS P????"/>
                      <a:cs typeface="MS P????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Mode val="edge"/>
                  <c:yMode val="edge"/>
                  <c:x val="0.25747126436782186"/>
                  <c:y val="0.54883720930232449"/>
                </c:manualLayout>
              </c:layout>
              <c:spPr>
                <a:noFill/>
                <a:ln w="30942">
                  <a:noFill/>
                </a:ln>
              </c:spPr>
              <c:txPr>
                <a:bodyPr/>
                <a:lstStyle/>
                <a:p>
                  <a:pPr>
                    <a:defRPr sz="1462" b="1" i="0" u="none" strike="noStrike" baseline="0">
                      <a:solidFill>
                        <a:schemeClr val="tx1"/>
                      </a:solidFill>
                      <a:latin typeface="MS P????"/>
                      <a:ea typeface="MS P????"/>
                      <a:cs typeface="MS P????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Mode val="edge"/>
                  <c:yMode val="edge"/>
                  <c:x val="0.30919540229885512"/>
                  <c:y val="0.59534883720931164"/>
                </c:manualLayout>
              </c:layout>
              <c:spPr>
                <a:noFill/>
                <a:ln w="30942">
                  <a:noFill/>
                </a:ln>
              </c:spPr>
              <c:txPr>
                <a:bodyPr/>
                <a:lstStyle/>
                <a:p>
                  <a:pPr>
                    <a:defRPr sz="1462" b="1" i="0" u="none" strike="noStrike" baseline="0">
                      <a:solidFill>
                        <a:schemeClr val="tx1"/>
                      </a:solidFill>
                      <a:latin typeface="MS P????"/>
                      <a:ea typeface="MS P????"/>
                      <a:cs typeface="MS P????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Mode val="edge"/>
                  <c:yMode val="edge"/>
                  <c:x val="0.36896551724137938"/>
                  <c:y val="0.68372093023256653"/>
                </c:manualLayout>
              </c:layout>
              <c:spPr>
                <a:noFill/>
                <a:ln w="30942">
                  <a:noFill/>
                </a:ln>
              </c:spPr>
              <c:txPr>
                <a:bodyPr/>
                <a:lstStyle/>
                <a:p>
                  <a:pPr>
                    <a:defRPr sz="1462" b="1" i="0" u="none" strike="noStrike" baseline="0">
                      <a:solidFill>
                        <a:schemeClr val="tx1"/>
                      </a:solidFill>
                      <a:latin typeface="MS P????"/>
                      <a:ea typeface="MS P????"/>
                      <a:cs typeface="MS P????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Mode val="edge"/>
                  <c:yMode val="edge"/>
                  <c:x val="0.42068965517241846"/>
                  <c:y val="0.77441860465116252"/>
                </c:manualLayout>
              </c:layout>
              <c:spPr>
                <a:noFill/>
                <a:ln w="30942">
                  <a:noFill/>
                </a:ln>
              </c:spPr>
              <c:txPr>
                <a:bodyPr/>
                <a:lstStyle/>
                <a:p>
                  <a:pPr>
                    <a:defRPr sz="1462" b="1" i="0" u="none" strike="noStrike" baseline="0">
                      <a:solidFill>
                        <a:schemeClr val="tx1"/>
                      </a:solidFill>
                      <a:latin typeface="MS P????"/>
                      <a:ea typeface="MS P????"/>
                      <a:cs typeface="MS P????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Mode val="edge"/>
                  <c:yMode val="edge"/>
                  <c:x val="0.47816091954023032"/>
                  <c:y val="0.64418604651162803"/>
                </c:manualLayout>
              </c:layout>
              <c:spPr>
                <a:noFill/>
                <a:ln w="30942">
                  <a:noFill/>
                </a:ln>
              </c:spPr>
              <c:txPr>
                <a:bodyPr/>
                <a:lstStyle/>
                <a:p>
                  <a:pPr>
                    <a:defRPr sz="1462" b="1" i="0" u="none" strike="noStrike" baseline="0">
                      <a:solidFill>
                        <a:schemeClr val="tx1"/>
                      </a:solidFill>
                      <a:latin typeface="MS P????"/>
                      <a:ea typeface="MS P????"/>
                      <a:cs typeface="MS P????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Mode val="edge"/>
                  <c:yMode val="edge"/>
                  <c:x val="0.54367816091954002"/>
                  <c:y val="0.64418604651162803"/>
                </c:manualLayout>
              </c:layout>
              <c:spPr>
                <a:noFill/>
                <a:ln w="30942">
                  <a:noFill/>
                </a:ln>
              </c:spPr>
              <c:txPr>
                <a:bodyPr/>
                <a:lstStyle/>
                <a:p>
                  <a:pPr>
                    <a:defRPr sz="1462" b="1" i="0" u="none" strike="noStrike" baseline="0">
                      <a:solidFill>
                        <a:schemeClr val="tx1"/>
                      </a:solidFill>
                      <a:latin typeface="MS P????"/>
                      <a:ea typeface="MS P????"/>
                      <a:cs typeface="MS P????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Mode val="edge"/>
                  <c:yMode val="edge"/>
                  <c:x val="0.63218390804597702"/>
                  <c:y val="0.69069767441862118"/>
                </c:manualLayout>
              </c:layout>
              <c:spPr>
                <a:noFill/>
                <a:ln w="30942">
                  <a:noFill/>
                </a:ln>
              </c:spPr>
              <c:txPr>
                <a:bodyPr/>
                <a:lstStyle/>
                <a:p>
                  <a:pPr>
                    <a:defRPr sz="1462" b="1" i="0" u="none" strike="noStrike" baseline="0">
                      <a:solidFill>
                        <a:schemeClr val="tx1"/>
                      </a:solidFill>
                      <a:latin typeface="MS P????"/>
                      <a:ea typeface="MS P????"/>
                      <a:cs typeface="MS P????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Mode val="edge"/>
                  <c:yMode val="edge"/>
                  <c:x val="0.69655172413792632"/>
                  <c:y val="0.68372093023256653"/>
                </c:manualLayout>
              </c:layout>
              <c:spPr>
                <a:noFill/>
                <a:ln w="30942">
                  <a:noFill/>
                </a:ln>
              </c:spPr>
              <c:txPr>
                <a:bodyPr/>
                <a:lstStyle/>
                <a:p>
                  <a:pPr>
                    <a:defRPr sz="1462" b="1" i="0" u="none" strike="noStrike" baseline="0">
                      <a:solidFill>
                        <a:schemeClr val="tx1"/>
                      </a:solidFill>
                      <a:latin typeface="MS P????"/>
                      <a:ea typeface="MS P????"/>
                      <a:cs typeface="MS P????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30942">
                <a:noFill/>
              </a:ln>
            </c:spPr>
            <c:txPr>
              <a:bodyPr/>
              <a:lstStyle/>
              <a:p>
                <a:pPr>
                  <a:defRPr sz="2193" b="1" i="0" u="none" strike="noStrike" baseline="0">
                    <a:solidFill>
                      <a:schemeClr val="tx1"/>
                    </a:solidFill>
                    <a:latin typeface="MS P????"/>
                    <a:ea typeface="MS P????"/>
                    <a:cs typeface="MS P????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</c:f>
              <c:strCache>
                <c:ptCount val="1"/>
                <c:pt idx="0">
                  <c:v>Market Share</c:v>
                </c:pt>
              </c:strCache>
            </c:strRef>
          </c:cat>
          <c:val>
            <c:numRef>
              <c:f>Sheet1!$B$2:$B$2</c:f>
              <c:numCache>
                <c:formatCode>0.0%</c:formatCode>
                <c:ptCount val="1"/>
                <c:pt idx="0">
                  <c:v>0.1189999999999999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ylan</c:v>
                </c:pt>
              </c:strCache>
            </c:strRef>
          </c:tx>
          <c:spPr>
            <a:solidFill>
              <a:schemeClr val="accent2"/>
            </a:solidFill>
            <a:ln w="15471">
              <a:noFill/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8.5956885297365625E-3"/>
                  <c:y val="-1.8053655738028678E-2"/>
                </c:manualLayout>
              </c:layout>
              <c:tx>
                <c:rich>
                  <a:bodyPr/>
                  <a:lstStyle/>
                  <a:p>
                    <a:pPr>
                      <a:defRPr sz="1400" b="1" i="0" u="none" strike="noStrike" baseline="0">
                        <a:solidFill>
                          <a:schemeClr val="tx1"/>
                        </a:solidFill>
                        <a:latin typeface="MS P????"/>
                        <a:ea typeface="MS P????"/>
                        <a:cs typeface="MS P????"/>
                      </a:defRPr>
                    </a:pPr>
                    <a:r>
                      <a:rPr lang="en-US" sz="1400" dirty="0" smtClean="0"/>
                      <a:t>Mylan</a:t>
                    </a:r>
                  </a:p>
                  <a:p>
                    <a:pPr>
                      <a:defRPr sz="1400" b="1" i="0" u="none" strike="noStrike" baseline="0">
                        <a:solidFill>
                          <a:schemeClr val="tx1"/>
                        </a:solidFill>
                        <a:latin typeface="MS P????"/>
                        <a:ea typeface="MS P????"/>
                        <a:cs typeface="MS P????"/>
                      </a:defRPr>
                    </a:pPr>
                    <a:r>
                      <a:rPr lang="en-US" sz="1400" dirty="0" smtClean="0"/>
                      <a:t>11.2%</a:t>
                    </a:r>
                    <a:endParaRPr lang="en-US" sz="1400" dirty="0"/>
                  </a:p>
                </c:rich>
              </c:tx>
              <c:spPr>
                <a:noFill/>
                <a:ln w="30942"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30942">
                <a:noFill/>
              </a:ln>
            </c:spPr>
            <c:txPr>
              <a:bodyPr/>
              <a:lstStyle/>
              <a:p>
                <a:pPr>
                  <a:defRPr sz="1462" b="1" i="0" u="none" strike="noStrike" baseline="0">
                    <a:solidFill>
                      <a:schemeClr val="tx1"/>
                    </a:solidFill>
                    <a:latin typeface="MS P????"/>
                    <a:ea typeface="MS P????"/>
                    <a:cs typeface="MS P????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</c:f>
              <c:strCache>
                <c:ptCount val="1"/>
                <c:pt idx="0">
                  <c:v>Market Share</c:v>
                </c:pt>
              </c:strCache>
            </c:strRef>
          </c:cat>
          <c:val>
            <c:numRef>
              <c:f>Sheet1!$C$2:$C$2</c:f>
              <c:numCache>
                <c:formatCode>0.0%</c:formatCode>
                <c:ptCount val="1"/>
                <c:pt idx="0">
                  <c:v>0.112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Actavis</c:v>
                </c:pt>
              </c:strCache>
            </c:strRef>
          </c:tx>
          <c:spPr>
            <a:solidFill>
              <a:schemeClr val="tx1"/>
            </a:solidFill>
            <a:ln w="15471">
              <a:noFill/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1.1597861345002878E-2"/>
                  <c:y val="-1.9465181666031766E-2"/>
                </c:manualLayout>
              </c:layout>
              <c:tx>
                <c:rich>
                  <a:bodyPr/>
                  <a:lstStyle/>
                  <a:p>
                    <a:r>
                      <a:rPr lang="en-US" sz="1800" baseline="0" dirty="0" smtClean="0">
                        <a:solidFill>
                          <a:srgbClr val="008000"/>
                        </a:solidFill>
                      </a:rPr>
                      <a:t>A</a:t>
                    </a:r>
                    <a:r>
                      <a:rPr lang="en-US" sz="1600" baseline="0" dirty="0" smtClean="0">
                        <a:solidFill>
                          <a:srgbClr val="008000"/>
                        </a:solidFill>
                      </a:rPr>
                      <a:t>ctavis</a:t>
                    </a:r>
                  </a:p>
                  <a:p>
                    <a:r>
                      <a:rPr lang="en-US" sz="1600" baseline="0" dirty="0" smtClean="0">
                        <a:solidFill>
                          <a:srgbClr val="008000"/>
                        </a:solidFill>
                      </a:rPr>
                      <a:t>11.2%</a:t>
                    </a:r>
                    <a:endParaRPr lang="en-US" sz="1600" baseline="0" dirty="0">
                      <a:solidFill>
                        <a:srgbClr val="008000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30942">
                <a:noFill/>
              </a:ln>
            </c:spPr>
            <c:txPr>
              <a:bodyPr/>
              <a:lstStyle/>
              <a:p>
                <a:pPr>
                  <a:defRPr sz="1800" b="1" i="0" u="none" strike="noStrike" baseline="0">
                    <a:solidFill>
                      <a:schemeClr val="tx1"/>
                    </a:solidFill>
                    <a:latin typeface="MS P????"/>
                    <a:ea typeface="MS P????"/>
                    <a:cs typeface="MS P????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</c:f>
              <c:strCache>
                <c:ptCount val="1"/>
                <c:pt idx="0">
                  <c:v>Market Share</c:v>
                </c:pt>
              </c:strCache>
            </c:strRef>
          </c:cat>
          <c:val>
            <c:numRef>
              <c:f>Sheet1!$D$2:$D$2</c:f>
              <c:numCache>
                <c:formatCode>0.0%</c:formatCode>
                <c:ptCount val="1"/>
                <c:pt idx="0">
                  <c:v>0.112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andoz</c:v>
                </c:pt>
              </c:strCache>
            </c:strRef>
          </c:tx>
          <c:spPr>
            <a:solidFill>
              <a:schemeClr val="folHlink"/>
            </a:solidFill>
            <a:ln w="15471">
              <a:noFill/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1.4553244462080665E-2"/>
                  <c:y val="-9.9576705257191367E-3"/>
                </c:manualLayout>
              </c:layout>
              <c:tx>
                <c:rich>
                  <a:bodyPr/>
                  <a:lstStyle/>
                  <a:p>
                    <a:pPr>
                      <a:defRPr sz="1400" b="1" i="0" u="none" strike="noStrike" baseline="0">
                        <a:solidFill>
                          <a:schemeClr val="tx1"/>
                        </a:solidFill>
                        <a:latin typeface="MS P????"/>
                        <a:ea typeface="MS P????"/>
                        <a:cs typeface="MS P????"/>
                      </a:defRPr>
                    </a:pPr>
                    <a:r>
                      <a:rPr lang="en-US" sz="1400" dirty="0" smtClean="0"/>
                      <a:t>Sandoz</a:t>
                    </a:r>
                  </a:p>
                  <a:p>
                    <a:pPr>
                      <a:defRPr sz="1400" b="1" i="0" u="none" strike="noStrike" baseline="0">
                        <a:solidFill>
                          <a:schemeClr val="tx1"/>
                        </a:solidFill>
                        <a:latin typeface="MS P????"/>
                        <a:ea typeface="MS P????"/>
                        <a:cs typeface="MS P????"/>
                      </a:defRPr>
                    </a:pPr>
                    <a:r>
                      <a:rPr lang="en-US" sz="1400" dirty="0" smtClean="0"/>
                      <a:t>7.5%</a:t>
                    </a:r>
                    <a:endParaRPr lang="en-US" sz="1400" dirty="0"/>
                  </a:p>
                </c:rich>
              </c:tx>
              <c:spPr>
                <a:noFill/>
                <a:ln w="30942"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30942">
                <a:noFill/>
              </a:ln>
            </c:spPr>
            <c:txPr>
              <a:bodyPr/>
              <a:lstStyle/>
              <a:p>
                <a:pPr>
                  <a:defRPr sz="1462" b="1" i="0" u="none" strike="noStrike" baseline="0">
                    <a:solidFill>
                      <a:schemeClr val="tx1"/>
                    </a:solidFill>
                    <a:latin typeface="MS P????"/>
                    <a:ea typeface="MS P????"/>
                    <a:cs typeface="MS P????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</c:f>
              <c:strCache>
                <c:ptCount val="1"/>
                <c:pt idx="0">
                  <c:v>Market Share</c:v>
                </c:pt>
              </c:strCache>
            </c:strRef>
          </c:cat>
          <c:val>
            <c:numRef>
              <c:f>Sheet1!$E$2:$E$2</c:f>
              <c:numCache>
                <c:formatCode>0.0%</c:formatCode>
                <c:ptCount val="1"/>
                <c:pt idx="0">
                  <c:v>7.4999999999999997E-2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Par</c:v>
                </c:pt>
              </c:strCache>
            </c:strRef>
          </c:tx>
          <c:spPr>
            <a:solidFill>
              <a:srgbClr val="000000"/>
            </a:solidFill>
            <a:ln w="15471">
              <a:noFill/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6.9268642622591576E-3"/>
                  <c:y val="-8.6667909360181317E-3"/>
                </c:manualLayout>
              </c:layout>
              <c:tx>
                <c:rich>
                  <a:bodyPr/>
                  <a:lstStyle/>
                  <a:p>
                    <a:pPr>
                      <a:defRPr sz="1400" b="1" i="0" u="none" strike="noStrike" baseline="0">
                        <a:solidFill>
                          <a:schemeClr val="tx1"/>
                        </a:solidFill>
                        <a:latin typeface="MS P????"/>
                        <a:ea typeface="MS P????"/>
                        <a:cs typeface="MS P????"/>
                      </a:defRPr>
                    </a:pPr>
                    <a:r>
                      <a:rPr lang="en-US" sz="1400" dirty="0" smtClean="0"/>
                      <a:t>Par</a:t>
                    </a:r>
                  </a:p>
                  <a:p>
                    <a:pPr>
                      <a:defRPr sz="1400" b="1" i="0" u="none" strike="noStrike" baseline="0">
                        <a:solidFill>
                          <a:schemeClr val="tx1"/>
                        </a:solidFill>
                        <a:latin typeface="MS P????"/>
                        <a:ea typeface="MS P????"/>
                        <a:cs typeface="MS P????"/>
                      </a:defRPr>
                    </a:pPr>
                    <a:r>
                      <a:rPr lang="en-US" sz="1400" dirty="0" smtClean="0"/>
                      <a:t>  3.7%</a:t>
                    </a:r>
                    <a:endParaRPr lang="en-US" sz="1400" dirty="0"/>
                  </a:p>
                </c:rich>
              </c:tx>
              <c:spPr>
                <a:noFill/>
                <a:ln w="30942"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30942">
                <a:noFill/>
              </a:ln>
            </c:spPr>
            <c:txPr>
              <a:bodyPr/>
              <a:lstStyle/>
              <a:p>
                <a:pPr>
                  <a:defRPr sz="1462" b="1" i="0" u="none" strike="noStrike" baseline="0">
                    <a:solidFill>
                      <a:schemeClr val="tx1"/>
                    </a:solidFill>
                    <a:latin typeface="MS P????"/>
                    <a:ea typeface="MS P????"/>
                    <a:cs typeface="MS P????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</c:f>
              <c:strCache>
                <c:ptCount val="1"/>
                <c:pt idx="0">
                  <c:v>Market Share</c:v>
                </c:pt>
              </c:strCache>
            </c:strRef>
          </c:cat>
          <c:val>
            <c:numRef>
              <c:f>Sheet1!$F$2:$F$2</c:f>
              <c:numCache>
                <c:formatCode>0.0%</c:formatCode>
                <c:ptCount val="1"/>
                <c:pt idx="0">
                  <c:v>3.6999999999999998E-2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Lupin</c:v>
                </c:pt>
              </c:strCache>
            </c:strRef>
          </c:tx>
          <c:spPr>
            <a:solidFill>
              <a:srgbClr val="817C00"/>
            </a:solidFill>
            <a:ln w="15471">
              <a:noFill/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-1.4870381797445948E-3"/>
                  <c:y val="-6.5206990893737563E-2"/>
                </c:manualLayout>
              </c:layout>
              <c:tx>
                <c:rich>
                  <a:bodyPr/>
                  <a:lstStyle/>
                  <a:p>
                    <a:pPr>
                      <a:defRPr sz="1400" b="1" i="0" u="none" strike="noStrike" baseline="0">
                        <a:solidFill>
                          <a:schemeClr val="tx1"/>
                        </a:solidFill>
                        <a:latin typeface="MS P????"/>
                        <a:ea typeface="MS P????"/>
                        <a:cs typeface="MS P????"/>
                      </a:defRPr>
                    </a:pPr>
                    <a:r>
                      <a:rPr lang="en-US" sz="1400" dirty="0" err="1" smtClean="0"/>
                      <a:t>Lupin</a:t>
                    </a:r>
                    <a:endParaRPr lang="en-US" sz="1400" dirty="0" smtClean="0"/>
                  </a:p>
                  <a:p>
                    <a:pPr>
                      <a:defRPr sz="1400" b="1" i="0" u="none" strike="noStrike" baseline="0">
                        <a:solidFill>
                          <a:schemeClr val="tx1"/>
                        </a:solidFill>
                        <a:latin typeface="MS P????"/>
                        <a:ea typeface="MS P????"/>
                        <a:cs typeface="MS P????"/>
                      </a:defRPr>
                    </a:pPr>
                    <a:r>
                      <a:rPr lang="en-US" sz="1400" dirty="0" smtClean="0"/>
                      <a:t>2.5%</a:t>
                    </a:r>
                    <a:endParaRPr lang="en-US" sz="1400" dirty="0"/>
                  </a:p>
                </c:rich>
              </c:tx>
              <c:spPr>
                <a:noFill/>
                <a:ln w="30942"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30942">
                <a:noFill/>
              </a:ln>
            </c:spPr>
            <c:txPr>
              <a:bodyPr/>
              <a:lstStyle/>
              <a:p>
                <a:pPr>
                  <a:defRPr sz="1462" b="1" i="0" u="none" strike="noStrike" baseline="0">
                    <a:solidFill>
                      <a:schemeClr val="tx1"/>
                    </a:solidFill>
                    <a:latin typeface="MS P????"/>
                    <a:ea typeface="MS P????"/>
                    <a:cs typeface="MS P????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</c:f>
              <c:strCache>
                <c:ptCount val="1"/>
                <c:pt idx="0">
                  <c:v>Market Share</c:v>
                </c:pt>
              </c:strCache>
            </c:strRef>
          </c:cat>
          <c:val>
            <c:numRef>
              <c:f>Sheet1!$G$2:$G$2</c:f>
              <c:numCache>
                <c:formatCode>0.0%</c:formatCode>
                <c:ptCount val="1"/>
                <c:pt idx="0">
                  <c:v>2.5000000000000001E-2</c:v>
                </c:pt>
              </c:numCache>
            </c:numRef>
          </c:val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Dr. Reddy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  <a:ln w="15471">
              <a:noFill/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5.18524633066458E-3"/>
                  <c:y val="-3.4099799882867984E-3"/>
                </c:manualLayout>
              </c:layout>
              <c:tx>
                <c:rich>
                  <a:bodyPr/>
                  <a:lstStyle/>
                  <a:p>
                    <a:pPr>
                      <a:defRPr sz="1400" b="1" i="0" u="none" strike="noStrike" baseline="0">
                        <a:solidFill>
                          <a:schemeClr val="tx1"/>
                        </a:solidFill>
                        <a:latin typeface="MS P????"/>
                        <a:ea typeface="MS P????"/>
                        <a:cs typeface="MS P????"/>
                      </a:defRPr>
                    </a:pPr>
                    <a:r>
                      <a:rPr lang="en-US" sz="1400" dirty="0" smtClean="0"/>
                      <a:t>Dr. Reddy’s</a:t>
                    </a:r>
                  </a:p>
                  <a:p>
                    <a:pPr>
                      <a:defRPr sz="1400" b="1" i="0" u="none" strike="noStrike" baseline="0">
                        <a:solidFill>
                          <a:schemeClr val="tx1"/>
                        </a:solidFill>
                        <a:latin typeface="MS P????"/>
                        <a:ea typeface="MS P????"/>
                        <a:cs typeface="MS P????"/>
                      </a:defRPr>
                    </a:pPr>
                    <a:r>
                      <a:rPr lang="en-US" sz="1400" dirty="0" smtClean="0"/>
                      <a:t>2.5%</a:t>
                    </a:r>
                    <a:endParaRPr lang="en-US" sz="1400" dirty="0"/>
                  </a:p>
                </c:rich>
              </c:tx>
              <c:spPr>
                <a:noFill/>
                <a:ln w="30942"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30942">
                <a:noFill/>
              </a:ln>
            </c:spPr>
            <c:txPr>
              <a:bodyPr/>
              <a:lstStyle/>
              <a:p>
                <a:pPr>
                  <a:defRPr sz="1462" b="1" i="0" u="none" strike="noStrike" baseline="0">
                    <a:solidFill>
                      <a:schemeClr val="tx1"/>
                    </a:solidFill>
                    <a:latin typeface="MS P????"/>
                    <a:ea typeface="MS P????"/>
                    <a:cs typeface="MS P????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</c:f>
              <c:strCache>
                <c:ptCount val="1"/>
                <c:pt idx="0">
                  <c:v>Market Share</c:v>
                </c:pt>
              </c:strCache>
            </c:strRef>
          </c:cat>
          <c:val>
            <c:numRef>
              <c:f>Sheet1!$H$2:$H$2</c:f>
              <c:numCache>
                <c:formatCode>0.0%</c:formatCode>
                <c:ptCount val="1"/>
                <c:pt idx="0">
                  <c:v>2.5000000000000001E-2</c:v>
                </c:pt>
              </c:numCache>
            </c:numRef>
          </c:val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Apotex</c:v>
                </c:pt>
              </c:strCache>
            </c:strRef>
          </c:tx>
          <c:spPr>
            <a:solidFill>
              <a:srgbClr val="CCCCFF"/>
            </a:solidFill>
            <a:ln w="15471">
              <a:noFill/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 w="15471">
                <a:noFill/>
                <a:prstDash val="solid"/>
              </a:ln>
            </c:spPr>
          </c:dPt>
          <c:dLbls>
            <c:dLbl>
              <c:idx val="0"/>
              <c:layout>
                <c:manualLayout>
                  <c:x val="4.6079767952083113E-3"/>
                  <c:y val="-8.0314774629560493E-2"/>
                </c:manualLayout>
              </c:layout>
              <c:tx>
                <c:rich>
                  <a:bodyPr/>
                  <a:lstStyle/>
                  <a:p>
                    <a:pPr>
                      <a:defRPr sz="1400" b="1" i="0" u="none" strike="noStrike" baseline="0">
                        <a:solidFill>
                          <a:schemeClr val="tx1"/>
                        </a:solidFill>
                        <a:latin typeface="MS P????"/>
                        <a:ea typeface="MS P????"/>
                        <a:cs typeface="MS P????"/>
                      </a:defRPr>
                    </a:pPr>
                    <a:r>
                      <a:rPr lang="en-US" sz="1400" dirty="0" err="1" smtClean="0"/>
                      <a:t>Apotex</a:t>
                    </a:r>
                    <a:endParaRPr lang="en-US" sz="1400" dirty="0" smtClean="0"/>
                  </a:p>
                  <a:p>
                    <a:pPr>
                      <a:defRPr sz="1400" b="1" i="0" u="none" strike="noStrike" baseline="0">
                        <a:solidFill>
                          <a:schemeClr val="tx1"/>
                        </a:solidFill>
                        <a:latin typeface="MS P????"/>
                        <a:ea typeface="MS P????"/>
                        <a:cs typeface="MS P????"/>
                      </a:defRPr>
                    </a:pPr>
                    <a:r>
                      <a:rPr lang="en-US" sz="1400" dirty="0" smtClean="0"/>
                      <a:t>2.2%</a:t>
                    </a:r>
                    <a:endParaRPr lang="en-US" sz="1400" dirty="0"/>
                  </a:p>
                </c:rich>
              </c:tx>
              <c:spPr>
                <a:noFill/>
                <a:ln w="30942"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30942">
                <a:noFill/>
              </a:ln>
            </c:spPr>
            <c:txPr>
              <a:bodyPr/>
              <a:lstStyle/>
              <a:p>
                <a:pPr>
                  <a:defRPr sz="1462" b="1" i="0" u="none" strike="noStrike" baseline="0">
                    <a:solidFill>
                      <a:schemeClr val="tx1"/>
                    </a:solidFill>
                    <a:latin typeface="MS P????"/>
                    <a:ea typeface="MS P????"/>
                    <a:cs typeface="MS P????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</c:f>
              <c:strCache>
                <c:ptCount val="1"/>
                <c:pt idx="0">
                  <c:v>Market Share</c:v>
                </c:pt>
              </c:strCache>
            </c:strRef>
          </c:cat>
          <c:val>
            <c:numRef>
              <c:f>Sheet1!$I$2:$I$2</c:f>
              <c:numCache>
                <c:formatCode>0.0%</c:formatCode>
                <c:ptCount val="1"/>
                <c:pt idx="0">
                  <c:v>2.1999999999999999E-2</c:v>
                </c:pt>
              </c:numCache>
            </c:numRef>
          </c:val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Greenstone</c:v>
                </c:pt>
              </c:strCache>
            </c:strRef>
          </c:tx>
          <c:spPr>
            <a:solidFill>
              <a:srgbClr val="C00000"/>
            </a:solidFill>
            <a:ln w="15471">
              <a:noFill/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1.1980425028807952E-2"/>
                  <c:y val="-8.7294690637246351E-3"/>
                </c:manualLayout>
              </c:layout>
              <c:tx>
                <c:rich>
                  <a:bodyPr/>
                  <a:lstStyle/>
                  <a:p>
                    <a:pPr>
                      <a:defRPr sz="1400" b="1" i="0" u="none" strike="noStrike" baseline="0">
                        <a:solidFill>
                          <a:schemeClr val="tx1"/>
                        </a:solidFill>
                        <a:latin typeface="MS P????"/>
                        <a:ea typeface="MS P????"/>
                        <a:cs typeface="MS P????"/>
                      </a:defRPr>
                    </a:pPr>
                    <a:r>
                      <a:rPr lang="en-US" sz="1400" dirty="0" smtClean="0"/>
                      <a:t>Greenstone</a:t>
                    </a:r>
                  </a:p>
                  <a:p>
                    <a:pPr>
                      <a:defRPr sz="1400" b="1" i="0" u="none" strike="noStrike" baseline="0">
                        <a:solidFill>
                          <a:schemeClr val="tx1"/>
                        </a:solidFill>
                        <a:latin typeface="MS P????"/>
                        <a:ea typeface="MS P????"/>
                        <a:cs typeface="MS P????"/>
                      </a:defRPr>
                    </a:pPr>
                    <a:r>
                      <a:rPr lang="en-US" sz="1400" dirty="0" smtClean="0"/>
                      <a:t>2.1%</a:t>
                    </a:r>
                    <a:endParaRPr lang="en-US" sz="1400" dirty="0"/>
                  </a:p>
                </c:rich>
              </c:tx>
              <c:spPr>
                <a:noFill/>
                <a:ln w="30942"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30942">
                <a:noFill/>
              </a:ln>
            </c:spPr>
            <c:txPr>
              <a:bodyPr/>
              <a:lstStyle/>
              <a:p>
                <a:pPr>
                  <a:defRPr sz="1462" b="1" i="0" u="none" strike="noStrike" baseline="0">
                    <a:solidFill>
                      <a:schemeClr val="tx1"/>
                    </a:solidFill>
                    <a:latin typeface="MS P????"/>
                    <a:ea typeface="MS P????"/>
                    <a:cs typeface="MS P????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</c:f>
              <c:strCache>
                <c:ptCount val="1"/>
                <c:pt idx="0">
                  <c:v>Market Share</c:v>
                </c:pt>
              </c:strCache>
            </c:strRef>
          </c:cat>
          <c:val>
            <c:numRef>
              <c:f>Sheet1!$J$2:$J$2</c:f>
              <c:numCache>
                <c:formatCode>0.0%</c:formatCode>
                <c:ptCount val="1"/>
                <c:pt idx="0">
                  <c:v>2.1000000000000001E-2</c:v>
                </c:pt>
              </c:numCache>
            </c:numRef>
          </c:val>
        </c:ser>
        <c:ser>
          <c:idx val="9"/>
          <c:order val="9"/>
          <c:tx>
            <c:strRef>
              <c:f>Sheet1!$K$1</c:f>
              <c:strCache>
                <c:ptCount val="1"/>
                <c:pt idx="0">
                  <c:v>Hospira</c:v>
                </c:pt>
              </c:strCache>
            </c:strRef>
          </c:tx>
          <c:spPr>
            <a:solidFill>
              <a:srgbClr val="FFFF00"/>
            </a:solidFill>
            <a:ln w="15471">
              <a:noFill/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-4.9116957139910839E-3"/>
                  <c:y val="-8.8281780573294735E-2"/>
                </c:manualLayout>
              </c:layout>
              <c:tx>
                <c:rich>
                  <a:bodyPr/>
                  <a:lstStyle/>
                  <a:p>
                    <a:pPr>
                      <a:defRPr sz="1400" b="1" i="0" u="none" strike="noStrike" baseline="0">
                        <a:solidFill>
                          <a:schemeClr val="tx1"/>
                        </a:solidFill>
                        <a:latin typeface="MS P????"/>
                        <a:ea typeface="MS P????"/>
                        <a:cs typeface="MS P????"/>
                      </a:defRPr>
                    </a:pPr>
                    <a:r>
                      <a:rPr lang="en-US" sz="1400" dirty="0" err="1" smtClean="0"/>
                      <a:t>Hospira</a:t>
                    </a:r>
                    <a:r>
                      <a:rPr lang="en-US" sz="1400" dirty="0" smtClean="0"/>
                      <a:t> </a:t>
                    </a:r>
                  </a:p>
                  <a:p>
                    <a:pPr>
                      <a:defRPr sz="1400" b="1" i="0" u="none" strike="noStrike" baseline="0">
                        <a:solidFill>
                          <a:schemeClr val="tx1"/>
                        </a:solidFill>
                        <a:latin typeface="MS P????"/>
                        <a:ea typeface="MS P????"/>
                        <a:cs typeface="MS P????"/>
                      </a:defRPr>
                    </a:pPr>
                    <a:r>
                      <a:rPr lang="en-US" sz="1400" dirty="0" smtClean="0"/>
                      <a:t>2.1%</a:t>
                    </a:r>
                    <a:endParaRPr lang="en-US" sz="1400" dirty="0"/>
                  </a:p>
                </c:rich>
              </c:tx>
              <c:spPr>
                <a:noFill/>
                <a:ln w="30942"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30942">
                <a:noFill/>
              </a:ln>
            </c:spPr>
            <c:txPr>
              <a:bodyPr/>
              <a:lstStyle/>
              <a:p>
                <a:pPr>
                  <a:defRPr sz="1462" b="1" i="0" u="none" strike="noStrike" baseline="0">
                    <a:solidFill>
                      <a:schemeClr val="tx1"/>
                    </a:solidFill>
                    <a:latin typeface="MS P????"/>
                    <a:ea typeface="MS P????"/>
                    <a:cs typeface="MS P????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</c:f>
              <c:strCache>
                <c:ptCount val="1"/>
                <c:pt idx="0">
                  <c:v>Market Share</c:v>
                </c:pt>
              </c:strCache>
            </c:strRef>
          </c:cat>
          <c:val>
            <c:numRef>
              <c:f>Sheet1!$K$2:$K$2</c:f>
              <c:numCache>
                <c:formatCode>0.0%</c:formatCode>
                <c:ptCount val="1"/>
                <c:pt idx="0">
                  <c:v>2.1000000000000001E-2</c:v>
                </c:pt>
              </c:numCache>
            </c:numRef>
          </c:val>
        </c:ser>
        <c:ser>
          <c:idx val="10"/>
          <c:order val="10"/>
          <c:tx>
            <c:strRef>
              <c:f>Sheet1!$L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5"/>
            </a:solidFill>
            <a:ln w="15471">
              <a:noFill/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1.0538743291416902E-2"/>
                  <c:y val="-1.2890768492113288E-2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 smtClean="0"/>
                      <a:t>Other 43.1%</a:t>
                    </a:r>
                    <a:endParaRPr lang="en-US" sz="1200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30942">
                <a:noFill/>
              </a:ln>
            </c:spPr>
            <c:txPr>
              <a:bodyPr/>
              <a:lstStyle/>
              <a:p>
                <a:pPr>
                  <a:defRPr sz="1462" b="1" i="0" u="none" strike="noStrike" baseline="0">
                    <a:solidFill>
                      <a:schemeClr val="tx1"/>
                    </a:solidFill>
                    <a:latin typeface="MS P????"/>
                    <a:ea typeface="MS P????"/>
                    <a:cs typeface="MS P????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</c:f>
              <c:strCache>
                <c:ptCount val="1"/>
                <c:pt idx="0">
                  <c:v>Market Share</c:v>
                </c:pt>
              </c:strCache>
            </c:strRef>
          </c:cat>
          <c:val>
            <c:numRef>
              <c:f>Sheet1!$L$2:$L$2</c:f>
              <c:numCache>
                <c:formatCode>0.0%</c:formatCode>
                <c:ptCount val="1"/>
                <c:pt idx="0">
                  <c:v>0.4309999999999999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gapDepth val="0"/>
        <c:shape val="box"/>
        <c:axId val="108891136"/>
        <c:axId val="108913408"/>
        <c:axId val="0"/>
      </c:bar3DChart>
      <c:catAx>
        <c:axId val="1088911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10891340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08913408"/>
        <c:scaling>
          <c:orientation val="minMax"/>
        </c:scaling>
        <c:delete val="0"/>
        <c:axPos val="l"/>
        <c:numFmt formatCode="0.0%" sourceLinked="1"/>
        <c:majorTickMark val="out"/>
        <c:minorTickMark val="none"/>
        <c:tickLblPos val="nextTo"/>
        <c:spPr>
          <a:ln w="3868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800" b="1" i="0" u="none" strike="noStrike" baseline="0">
                <a:solidFill>
                  <a:schemeClr val="tx1"/>
                </a:solidFill>
                <a:latin typeface="MS P????"/>
                <a:ea typeface="MS P????"/>
                <a:cs typeface="MS P????"/>
              </a:defRPr>
            </a:pPr>
            <a:endParaRPr lang="en-US"/>
          </a:p>
        </c:txPr>
        <c:crossAx val="108891136"/>
        <c:crosses val="autoZero"/>
        <c:crossBetween val="between"/>
      </c:valAx>
      <c:spPr>
        <a:noFill/>
        <a:ln w="30942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193" b="1" i="0" u="none" strike="noStrike" baseline="0">
          <a:solidFill>
            <a:schemeClr val="tx1"/>
          </a:solidFill>
          <a:latin typeface="MS P????"/>
          <a:ea typeface="MS P????"/>
          <a:cs typeface="MS P????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1049000711991433"/>
          <c:y val="0.21785067539241498"/>
          <c:w val="0.74297238486214867"/>
          <c:h val="0.7752970315330302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arket Share</c:v>
                </c:pt>
              </c:strCache>
            </c:strRef>
          </c:tx>
          <c:explosion val="21"/>
          <c:dPt>
            <c:idx val="0"/>
            <c:bubble3D val="0"/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/>
                      <a:t>CVS/Caremark</a:t>
                    </a:r>
                    <a:r>
                      <a:rPr lang="en-US" dirty="0" smtClean="0"/>
                      <a:t>/  Cardinal</a:t>
                    </a:r>
                    <a:r>
                      <a:rPr lang="en-US" dirty="0"/>
                      <a:t>, </a:t>
                    </a:r>
                    <a:r>
                      <a:rPr lang="en-US" dirty="0" smtClean="0"/>
                      <a:t>23.0</a:t>
                    </a:r>
                    <a:r>
                      <a:rPr lang="en-US" dirty="0"/>
                      <a:t>%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2.3737120183565736E-2"/>
                  <c:y val="-5.1251301875149839E-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-1.0275120096235333E-2"/>
                  <c:y val="-0.16902984021039347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0.14446593515787454"/>
                  <c:y val="-0.13163673065720619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12"/>
              <c:layout>
                <c:manualLayout>
                  <c:x val="6.0464746921773928E-2"/>
                  <c:y val="-3.6759684683185953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>
                    <a:solidFill>
                      <a:srgbClr val="000000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1"/>
            <c:showSerName val="0"/>
            <c:showPercent val="0"/>
            <c:showBubbleSize val="0"/>
            <c:showLeaderLines val="1"/>
          </c:dLbls>
          <c:cat>
            <c:strRef>
              <c:f>Sheet1!$A$2:$A$13</c:f>
              <c:strCache>
                <c:ptCount val="12"/>
                <c:pt idx="0">
                  <c:v>CVS/Caremark/Cardinal</c:v>
                </c:pt>
                <c:pt idx="1">
                  <c:v>Walgreen/ABC</c:v>
                </c:pt>
                <c:pt idx="2">
                  <c:v>Econdisc</c:v>
                </c:pt>
                <c:pt idx="3">
                  <c:v>McKesson/Rite Aid</c:v>
                </c:pt>
                <c:pt idx="4">
                  <c:v>Walmart</c:v>
                </c:pt>
                <c:pt idx="5">
                  <c:v>Anda</c:v>
                </c:pt>
                <c:pt idx="6">
                  <c:v>Kaiser </c:v>
                </c:pt>
                <c:pt idx="7">
                  <c:v>Optisource</c:v>
                </c:pt>
                <c:pt idx="8">
                  <c:v>Omnicare</c:v>
                </c:pt>
                <c:pt idx="9">
                  <c:v>Morris &amp; Dickson</c:v>
                </c:pt>
                <c:pt idx="10">
                  <c:v>HD Smith</c:v>
                </c:pt>
                <c:pt idx="11">
                  <c:v>Other</c:v>
                </c:pt>
              </c:strCache>
            </c:strRef>
          </c:cat>
          <c:val>
            <c:numRef>
              <c:f>Sheet1!$B$2:$B$13</c:f>
              <c:numCache>
                <c:formatCode>0.0%</c:formatCode>
                <c:ptCount val="12"/>
                <c:pt idx="0">
                  <c:v>0.23</c:v>
                </c:pt>
                <c:pt idx="1">
                  <c:v>0.2</c:v>
                </c:pt>
                <c:pt idx="2">
                  <c:v>0.2</c:v>
                </c:pt>
                <c:pt idx="3">
                  <c:v>0.15</c:v>
                </c:pt>
                <c:pt idx="4">
                  <c:v>0.08</c:v>
                </c:pt>
                <c:pt idx="5">
                  <c:v>0.02</c:v>
                </c:pt>
                <c:pt idx="6">
                  <c:v>0.02</c:v>
                </c:pt>
                <c:pt idx="7">
                  <c:v>0.02</c:v>
                </c:pt>
                <c:pt idx="8">
                  <c:v>0.01</c:v>
                </c:pt>
                <c:pt idx="9">
                  <c:v>0.01</c:v>
                </c:pt>
                <c:pt idx="10">
                  <c:v>0.01</c:v>
                </c:pt>
                <c:pt idx="11">
                  <c:v>0.0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explosion val="25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Sheet1!$A$2:$A$13</c:f>
              <c:strCache>
                <c:ptCount val="12"/>
                <c:pt idx="0">
                  <c:v>CVS/Caremark/Cardinal</c:v>
                </c:pt>
                <c:pt idx="1">
                  <c:v>Walgreen/ABC</c:v>
                </c:pt>
                <c:pt idx="2">
                  <c:v>Econdisc</c:v>
                </c:pt>
                <c:pt idx="3">
                  <c:v>McKesson/Rite Aid</c:v>
                </c:pt>
                <c:pt idx="4">
                  <c:v>Walmart</c:v>
                </c:pt>
                <c:pt idx="5">
                  <c:v>Anda</c:v>
                </c:pt>
                <c:pt idx="6">
                  <c:v>Kaiser </c:v>
                </c:pt>
                <c:pt idx="7">
                  <c:v>Optisource</c:v>
                </c:pt>
                <c:pt idx="8">
                  <c:v>Omnicare</c:v>
                </c:pt>
                <c:pt idx="9">
                  <c:v>Morris &amp; Dickson</c:v>
                </c:pt>
                <c:pt idx="10">
                  <c:v>HD Smith</c:v>
                </c:pt>
                <c:pt idx="11">
                  <c:v>Other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  <c:userShapes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8864DC6-1043-4E76-B081-515F44B64C3D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8F0AB0F-4F97-485C-93D4-43801A8A3B27}">
      <dgm:prSet phldrT="[Text]" custT="1"/>
      <dgm:spPr/>
      <dgm:t>
        <a:bodyPr/>
        <a:lstStyle/>
        <a:p>
          <a:r>
            <a:rPr lang="en-US" sz="1800" b="1" dirty="0" smtClean="0"/>
            <a:t>1</a:t>
          </a:r>
          <a:endParaRPr lang="en-US" sz="1800" b="1" dirty="0"/>
        </a:p>
      </dgm:t>
    </dgm:pt>
    <dgm:pt modelId="{E96D72FF-59F9-4472-A027-9022082DF3AE}" type="parTrans" cxnId="{FBE80E52-720B-4997-8637-8CAED63BE6EF}">
      <dgm:prSet/>
      <dgm:spPr/>
      <dgm:t>
        <a:bodyPr/>
        <a:lstStyle/>
        <a:p>
          <a:endParaRPr lang="en-US"/>
        </a:p>
      </dgm:t>
    </dgm:pt>
    <dgm:pt modelId="{D3CEB6D2-11E5-4B1B-9791-1E3DC74459FE}" type="sibTrans" cxnId="{FBE80E52-720B-4997-8637-8CAED63BE6EF}">
      <dgm:prSet/>
      <dgm:spPr/>
      <dgm:t>
        <a:bodyPr/>
        <a:lstStyle/>
        <a:p>
          <a:endParaRPr lang="en-US"/>
        </a:p>
      </dgm:t>
    </dgm:pt>
    <dgm:pt modelId="{85BE0FE5-9F49-422D-982E-334126A2E60E}">
      <dgm:prSet phldrT="[Text]" phldr="1"/>
      <dgm:spPr/>
      <dgm:t>
        <a:bodyPr/>
        <a:lstStyle/>
        <a:p>
          <a:endParaRPr lang="en-US" dirty="0"/>
        </a:p>
      </dgm:t>
    </dgm:pt>
    <dgm:pt modelId="{8D9CE7D5-3CB6-4378-8A63-434B28707DAC}" type="parTrans" cxnId="{D93FD883-306F-44EA-88FB-EB17DF0B8585}">
      <dgm:prSet/>
      <dgm:spPr/>
      <dgm:t>
        <a:bodyPr/>
        <a:lstStyle/>
        <a:p>
          <a:endParaRPr lang="en-US"/>
        </a:p>
      </dgm:t>
    </dgm:pt>
    <dgm:pt modelId="{E07214BB-B8B5-4169-BF42-2D2A28CC412D}" type="sibTrans" cxnId="{D93FD883-306F-44EA-88FB-EB17DF0B8585}">
      <dgm:prSet/>
      <dgm:spPr/>
      <dgm:t>
        <a:bodyPr/>
        <a:lstStyle/>
        <a:p>
          <a:endParaRPr lang="en-US"/>
        </a:p>
      </dgm:t>
    </dgm:pt>
    <dgm:pt modelId="{5C750A0A-E4F5-42B9-8D91-4455F5F74F97}">
      <dgm:prSet phldrT="[Text]" custT="1"/>
      <dgm:spPr/>
      <dgm:t>
        <a:bodyPr/>
        <a:lstStyle/>
        <a:p>
          <a:r>
            <a:rPr lang="en-US" sz="1800" b="1" dirty="0" smtClean="0"/>
            <a:t>2</a:t>
          </a:r>
          <a:endParaRPr lang="en-US" sz="1800" b="1" dirty="0"/>
        </a:p>
      </dgm:t>
    </dgm:pt>
    <dgm:pt modelId="{9F9E6A12-FF27-4FA7-94AC-1ABBEC83BCB7}" type="parTrans" cxnId="{72D662E1-0EE0-4C30-9E08-2B09C7DCE520}">
      <dgm:prSet/>
      <dgm:spPr/>
      <dgm:t>
        <a:bodyPr/>
        <a:lstStyle/>
        <a:p>
          <a:endParaRPr lang="en-US"/>
        </a:p>
      </dgm:t>
    </dgm:pt>
    <dgm:pt modelId="{1928C66B-8EAE-4340-BE1B-AEE7C2F54797}" type="sibTrans" cxnId="{72D662E1-0EE0-4C30-9E08-2B09C7DCE520}">
      <dgm:prSet/>
      <dgm:spPr/>
      <dgm:t>
        <a:bodyPr/>
        <a:lstStyle/>
        <a:p>
          <a:endParaRPr lang="en-US"/>
        </a:p>
      </dgm:t>
    </dgm:pt>
    <dgm:pt modelId="{0D7728D3-4785-4FCA-8399-354C63A4DCFA}">
      <dgm:prSet phldrT="[Text]" phldr="1"/>
      <dgm:spPr/>
      <dgm:t>
        <a:bodyPr/>
        <a:lstStyle/>
        <a:p>
          <a:endParaRPr lang="en-US" dirty="0">
            <a:solidFill>
              <a:schemeClr val="bg1"/>
            </a:solidFill>
          </a:endParaRPr>
        </a:p>
      </dgm:t>
    </dgm:pt>
    <dgm:pt modelId="{03DD6B07-DAFD-4912-8AF3-D438D9FD652E}" type="parTrans" cxnId="{69809797-9DCF-42A2-A897-9B327ED9C20A}">
      <dgm:prSet/>
      <dgm:spPr/>
      <dgm:t>
        <a:bodyPr/>
        <a:lstStyle/>
        <a:p>
          <a:endParaRPr lang="en-US"/>
        </a:p>
      </dgm:t>
    </dgm:pt>
    <dgm:pt modelId="{EA581359-29FD-4A9A-9DC1-9E2DCE493C11}" type="sibTrans" cxnId="{69809797-9DCF-42A2-A897-9B327ED9C20A}">
      <dgm:prSet/>
      <dgm:spPr/>
      <dgm:t>
        <a:bodyPr/>
        <a:lstStyle/>
        <a:p>
          <a:endParaRPr lang="en-US"/>
        </a:p>
      </dgm:t>
    </dgm:pt>
    <dgm:pt modelId="{4269A370-1EEE-4631-AAB5-FD03A6B2ABE5}">
      <dgm:prSet phldrT="[Text]" custT="1"/>
      <dgm:spPr>
        <a:solidFill>
          <a:schemeClr val="tx1"/>
        </a:solidFill>
      </dgm:spPr>
      <dgm:t>
        <a:bodyPr/>
        <a:lstStyle/>
        <a:p>
          <a:r>
            <a:rPr lang="en-US" sz="1800" b="1" dirty="0" smtClean="0"/>
            <a:t>3</a:t>
          </a:r>
          <a:endParaRPr lang="en-US" sz="1800" b="1" dirty="0"/>
        </a:p>
      </dgm:t>
    </dgm:pt>
    <dgm:pt modelId="{B7C0F185-3BCF-4D1D-BEC2-BE14DE449692}" type="parTrans" cxnId="{CCB3E748-0A55-49DF-8000-60EF071064A0}">
      <dgm:prSet/>
      <dgm:spPr/>
      <dgm:t>
        <a:bodyPr/>
        <a:lstStyle/>
        <a:p>
          <a:endParaRPr lang="en-US"/>
        </a:p>
      </dgm:t>
    </dgm:pt>
    <dgm:pt modelId="{AE2DDD37-4C87-4206-9303-392783E1D0DF}" type="sibTrans" cxnId="{CCB3E748-0A55-49DF-8000-60EF071064A0}">
      <dgm:prSet/>
      <dgm:spPr/>
      <dgm:t>
        <a:bodyPr/>
        <a:lstStyle/>
        <a:p>
          <a:endParaRPr lang="en-US"/>
        </a:p>
      </dgm:t>
    </dgm:pt>
    <dgm:pt modelId="{6773C743-7BE9-4D87-B2E5-2792A2BE989A}">
      <dgm:prSet phldrT="[Text]" custT="1"/>
      <dgm:spPr/>
      <dgm:t>
        <a:bodyPr/>
        <a:lstStyle/>
        <a:p>
          <a:r>
            <a:rPr lang="en-US" sz="1800" b="1" dirty="0" smtClean="0"/>
            <a:t>4</a:t>
          </a:r>
          <a:endParaRPr lang="en-US" sz="1800" b="1" dirty="0"/>
        </a:p>
      </dgm:t>
    </dgm:pt>
    <dgm:pt modelId="{B2C07208-8C5F-46A4-8554-0D6A8ED3AB3F}" type="parTrans" cxnId="{37B82914-838B-4AFD-98E5-F47499696565}">
      <dgm:prSet/>
      <dgm:spPr/>
      <dgm:t>
        <a:bodyPr/>
        <a:lstStyle/>
        <a:p>
          <a:endParaRPr lang="en-US"/>
        </a:p>
      </dgm:t>
    </dgm:pt>
    <dgm:pt modelId="{8F912B22-17DD-45F8-BDEC-210F2694D5A6}" type="sibTrans" cxnId="{37B82914-838B-4AFD-98E5-F47499696565}">
      <dgm:prSet/>
      <dgm:spPr/>
      <dgm:t>
        <a:bodyPr/>
        <a:lstStyle/>
        <a:p>
          <a:endParaRPr lang="en-US"/>
        </a:p>
      </dgm:t>
    </dgm:pt>
    <dgm:pt modelId="{58265C21-27B9-42D5-8E7F-718C50215119}">
      <dgm:prSet phldrT="[Text]" custT="1"/>
      <dgm:spPr/>
      <dgm:t>
        <a:bodyPr/>
        <a:lstStyle/>
        <a:p>
          <a:r>
            <a:rPr lang="en-US" sz="1800" b="1" dirty="0" smtClean="0"/>
            <a:t>5</a:t>
          </a:r>
          <a:endParaRPr lang="en-US" sz="1800" b="1" dirty="0"/>
        </a:p>
      </dgm:t>
    </dgm:pt>
    <dgm:pt modelId="{1C32375A-E881-4462-89E1-5F32B750ACC0}" type="parTrans" cxnId="{AE30736B-ED44-4ED8-B4C2-21227AA3C373}">
      <dgm:prSet/>
      <dgm:spPr/>
      <dgm:t>
        <a:bodyPr/>
        <a:lstStyle/>
        <a:p>
          <a:endParaRPr lang="en-US"/>
        </a:p>
      </dgm:t>
    </dgm:pt>
    <dgm:pt modelId="{B0CEA978-68B3-4DF8-96A8-24B0826456E1}" type="sibTrans" cxnId="{AE30736B-ED44-4ED8-B4C2-21227AA3C373}">
      <dgm:prSet/>
      <dgm:spPr/>
      <dgm:t>
        <a:bodyPr/>
        <a:lstStyle/>
        <a:p>
          <a:endParaRPr lang="en-US"/>
        </a:p>
      </dgm:t>
    </dgm:pt>
    <dgm:pt modelId="{FCC243CB-11CB-4195-A4C7-8F4D08A92FC8}" type="pres">
      <dgm:prSet presAssocID="{38864DC6-1043-4E76-B081-515F44B64C3D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1B12010-F267-4B31-BE31-D379FDEBAD36}" type="pres">
      <dgm:prSet presAssocID="{08F0AB0F-4F97-485C-93D4-43801A8A3B27}" presName="composite" presStyleCnt="0"/>
      <dgm:spPr/>
    </dgm:pt>
    <dgm:pt modelId="{C3A32A10-6FA2-40CE-974D-99EE848AC1D6}" type="pres">
      <dgm:prSet presAssocID="{08F0AB0F-4F97-485C-93D4-43801A8A3B27}" presName="parentText" presStyleLbl="alignNode1" presStyleIdx="0" presStyleCnt="5" custLinFactNeighborX="0" custLinFactNeighborY="-32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3B6DACD-2DF9-48B1-B897-324604177D01}" type="pres">
      <dgm:prSet presAssocID="{08F0AB0F-4F97-485C-93D4-43801A8A3B27}" presName="descendantText" presStyleLbl="alignAcc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8BB4CA9-52D4-46B2-9A25-B9F7BD7C50AA}" type="pres">
      <dgm:prSet presAssocID="{D3CEB6D2-11E5-4B1B-9791-1E3DC74459FE}" presName="sp" presStyleCnt="0"/>
      <dgm:spPr/>
    </dgm:pt>
    <dgm:pt modelId="{328B10D4-A1B1-40E0-88E6-7BAC5C761880}" type="pres">
      <dgm:prSet presAssocID="{5C750A0A-E4F5-42B9-8D91-4455F5F74F97}" presName="composite" presStyleCnt="0"/>
      <dgm:spPr/>
    </dgm:pt>
    <dgm:pt modelId="{F922107C-D185-4CF2-9E81-8672A04F2D76}" type="pres">
      <dgm:prSet presAssocID="{5C750A0A-E4F5-42B9-8D91-4455F5F74F97}" presName="parentText" presStyleLbl="alignNode1" presStyleIdx="1" presStyleCnt="5" custLinFactNeighborX="0" custLinFactNeighborY="-32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BA6A050-0B5D-4130-BBE3-4CEA04022780}" type="pres">
      <dgm:prSet presAssocID="{5C750A0A-E4F5-42B9-8D91-4455F5F74F97}" presName="descendantText" presStyleLbl="alignAcc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F99B251-69DA-4C0E-9D28-CA95E8261BD8}" type="pres">
      <dgm:prSet presAssocID="{1928C66B-8EAE-4340-BE1B-AEE7C2F54797}" presName="sp" presStyleCnt="0"/>
      <dgm:spPr/>
    </dgm:pt>
    <dgm:pt modelId="{151A981B-0AF2-4F20-8AFF-263832C631A1}" type="pres">
      <dgm:prSet presAssocID="{4269A370-1EEE-4631-AAB5-FD03A6B2ABE5}" presName="composite" presStyleCnt="0"/>
      <dgm:spPr/>
    </dgm:pt>
    <dgm:pt modelId="{B4E79B37-C921-438A-A119-3330D3593831}" type="pres">
      <dgm:prSet presAssocID="{4269A370-1EEE-4631-AAB5-FD03A6B2ABE5}" presName="parentText" presStyleLbl="alignNode1" presStyleIdx="2" presStyleCnt="5" custLinFactNeighborX="0" custLinFactNeighborY="-32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FF809C3-AE6B-4FF1-B13C-A59876D74A8D}" type="pres">
      <dgm:prSet presAssocID="{4269A370-1EEE-4631-AAB5-FD03A6B2ABE5}" presName="descendantText" presStyleLbl="alignAcc1" presStyleIdx="2" presStyleCnt="5">
        <dgm:presLayoutVars>
          <dgm:bulletEnabled val="1"/>
        </dgm:presLayoutVars>
      </dgm:prSet>
      <dgm:spPr>
        <a:solidFill>
          <a:schemeClr val="tx1"/>
        </a:solidFill>
      </dgm:spPr>
    </dgm:pt>
    <dgm:pt modelId="{9F7CA9EF-D0D8-4B64-A04E-6F133B7C9F38}" type="pres">
      <dgm:prSet presAssocID="{AE2DDD37-4C87-4206-9303-392783E1D0DF}" presName="sp" presStyleCnt="0"/>
      <dgm:spPr/>
    </dgm:pt>
    <dgm:pt modelId="{2DED9A5D-6F60-4EDE-B983-78333E943578}" type="pres">
      <dgm:prSet presAssocID="{6773C743-7BE9-4D87-B2E5-2792A2BE989A}" presName="composite" presStyleCnt="0"/>
      <dgm:spPr/>
    </dgm:pt>
    <dgm:pt modelId="{AF175076-A84D-44F4-9955-593E2FD07378}" type="pres">
      <dgm:prSet presAssocID="{6773C743-7BE9-4D87-B2E5-2792A2BE989A}" presName="parentText" presStyleLbl="alignNode1" presStyleIdx="3" presStyleCnt="5" custLinFactNeighborX="0" custLinFactNeighborY="-32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6DF9AD9-31A9-4E8F-9DF3-35B154D980BF}" type="pres">
      <dgm:prSet presAssocID="{6773C743-7BE9-4D87-B2E5-2792A2BE989A}" presName="descendantText" presStyleLbl="alignAcc1" presStyleIdx="3" presStyleCnt="5">
        <dgm:presLayoutVars>
          <dgm:bulletEnabled val="1"/>
        </dgm:presLayoutVars>
      </dgm:prSet>
      <dgm:spPr/>
    </dgm:pt>
    <dgm:pt modelId="{84AAF839-AE7B-4ADD-B988-AEC24278607D}" type="pres">
      <dgm:prSet presAssocID="{8F912B22-17DD-45F8-BDEC-210F2694D5A6}" presName="sp" presStyleCnt="0"/>
      <dgm:spPr/>
    </dgm:pt>
    <dgm:pt modelId="{FD614C18-FCED-40E9-890A-B60A8E540F89}" type="pres">
      <dgm:prSet presAssocID="{58265C21-27B9-42D5-8E7F-718C50215119}" presName="composite" presStyleCnt="0"/>
      <dgm:spPr/>
    </dgm:pt>
    <dgm:pt modelId="{110ACDCC-C086-434C-B2D1-1FBC150E3AD8}" type="pres">
      <dgm:prSet presAssocID="{58265C21-27B9-42D5-8E7F-718C50215119}" presName="parentText" presStyleLbl="alignNode1" presStyleIdx="4" presStyleCnt="5" custLinFactNeighborX="0" custLinFactNeighborY="-326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2C40E4A-D04A-4305-86DE-CF21CB309A70}" type="pres">
      <dgm:prSet presAssocID="{58265C21-27B9-42D5-8E7F-718C50215119}" presName="descendantText" presStyleLbl="alignAcc1" presStyleIdx="4" presStyleCnt="5">
        <dgm:presLayoutVars>
          <dgm:bulletEnabled val="1"/>
        </dgm:presLayoutVars>
      </dgm:prSet>
      <dgm:spPr/>
    </dgm:pt>
  </dgm:ptLst>
  <dgm:cxnLst>
    <dgm:cxn modelId="{FBE80E52-720B-4997-8637-8CAED63BE6EF}" srcId="{38864DC6-1043-4E76-B081-515F44B64C3D}" destId="{08F0AB0F-4F97-485C-93D4-43801A8A3B27}" srcOrd="0" destOrd="0" parTransId="{E96D72FF-59F9-4472-A027-9022082DF3AE}" sibTransId="{D3CEB6D2-11E5-4B1B-9791-1E3DC74459FE}"/>
    <dgm:cxn modelId="{AE30736B-ED44-4ED8-B4C2-21227AA3C373}" srcId="{38864DC6-1043-4E76-B081-515F44B64C3D}" destId="{58265C21-27B9-42D5-8E7F-718C50215119}" srcOrd="4" destOrd="0" parTransId="{1C32375A-E881-4462-89E1-5F32B750ACC0}" sibTransId="{B0CEA978-68B3-4DF8-96A8-24B0826456E1}"/>
    <dgm:cxn modelId="{72D662E1-0EE0-4C30-9E08-2B09C7DCE520}" srcId="{38864DC6-1043-4E76-B081-515F44B64C3D}" destId="{5C750A0A-E4F5-42B9-8D91-4455F5F74F97}" srcOrd="1" destOrd="0" parTransId="{9F9E6A12-FF27-4FA7-94AC-1ABBEC83BCB7}" sibTransId="{1928C66B-8EAE-4340-BE1B-AEE7C2F54797}"/>
    <dgm:cxn modelId="{CC7B519F-9525-4745-A4CF-CC37B98F6027}" type="presOf" srcId="{08F0AB0F-4F97-485C-93D4-43801A8A3B27}" destId="{C3A32A10-6FA2-40CE-974D-99EE848AC1D6}" srcOrd="0" destOrd="0" presId="urn:microsoft.com/office/officeart/2005/8/layout/chevron2"/>
    <dgm:cxn modelId="{8C968B2A-E3F1-43AA-8EE4-BCE3C5A12D3A}" type="presOf" srcId="{0D7728D3-4785-4FCA-8399-354C63A4DCFA}" destId="{4BA6A050-0B5D-4130-BBE3-4CEA04022780}" srcOrd="0" destOrd="0" presId="urn:microsoft.com/office/officeart/2005/8/layout/chevron2"/>
    <dgm:cxn modelId="{37B82914-838B-4AFD-98E5-F47499696565}" srcId="{38864DC6-1043-4E76-B081-515F44B64C3D}" destId="{6773C743-7BE9-4D87-B2E5-2792A2BE989A}" srcOrd="3" destOrd="0" parTransId="{B2C07208-8C5F-46A4-8554-0D6A8ED3AB3F}" sibTransId="{8F912B22-17DD-45F8-BDEC-210F2694D5A6}"/>
    <dgm:cxn modelId="{CCE63AA0-AFA9-4FFC-ACCE-F3B7D5B15087}" type="presOf" srcId="{85BE0FE5-9F49-422D-982E-334126A2E60E}" destId="{73B6DACD-2DF9-48B1-B897-324604177D01}" srcOrd="0" destOrd="0" presId="urn:microsoft.com/office/officeart/2005/8/layout/chevron2"/>
    <dgm:cxn modelId="{D93FD883-306F-44EA-88FB-EB17DF0B8585}" srcId="{08F0AB0F-4F97-485C-93D4-43801A8A3B27}" destId="{85BE0FE5-9F49-422D-982E-334126A2E60E}" srcOrd="0" destOrd="0" parTransId="{8D9CE7D5-3CB6-4378-8A63-434B28707DAC}" sibTransId="{E07214BB-B8B5-4169-BF42-2D2A28CC412D}"/>
    <dgm:cxn modelId="{01A6672D-3A6E-4A74-B233-C0DE38AA4362}" type="presOf" srcId="{4269A370-1EEE-4631-AAB5-FD03A6B2ABE5}" destId="{B4E79B37-C921-438A-A119-3330D3593831}" srcOrd="0" destOrd="0" presId="urn:microsoft.com/office/officeart/2005/8/layout/chevron2"/>
    <dgm:cxn modelId="{34D19E09-A7CE-4DA3-9562-8181BE53341C}" type="presOf" srcId="{58265C21-27B9-42D5-8E7F-718C50215119}" destId="{110ACDCC-C086-434C-B2D1-1FBC150E3AD8}" srcOrd="0" destOrd="0" presId="urn:microsoft.com/office/officeart/2005/8/layout/chevron2"/>
    <dgm:cxn modelId="{CCB3E748-0A55-49DF-8000-60EF071064A0}" srcId="{38864DC6-1043-4E76-B081-515F44B64C3D}" destId="{4269A370-1EEE-4631-AAB5-FD03A6B2ABE5}" srcOrd="2" destOrd="0" parTransId="{B7C0F185-3BCF-4D1D-BEC2-BE14DE449692}" sibTransId="{AE2DDD37-4C87-4206-9303-392783E1D0DF}"/>
    <dgm:cxn modelId="{A148AA50-A49D-43C8-96C5-0484147C2F34}" type="presOf" srcId="{5C750A0A-E4F5-42B9-8D91-4455F5F74F97}" destId="{F922107C-D185-4CF2-9E81-8672A04F2D76}" srcOrd="0" destOrd="0" presId="urn:microsoft.com/office/officeart/2005/8/layout/chevron2"/>
    <dgm:cxn modelId="{0D61D151-D305-402A-BC46-221DD6A8E0F7}" type="presOf" srcId="{6773C743-7BE9-4D87-B2E5-2792A2BE989A}" destId="{AF175076-A84D-44F4-9955-593E2FD07378}" srcOrd="0" destOrd="0" presId="urn:microsoft.com/office/officeart/2005/8/layout/chevron2"/>
    <dgm:cxn modelId="{69809797-9DCF-42A2-A897-9B327ED9C20A}" srcId="{5C750A0A-E4F5-42B9-8D91-4455F5F74F97}" destId="{0D7728D3-4785-4FCA-8399-354C63A4DCFA}" srcOrd="0" destOrd="0" parTransId="{03DD6B07-DAFD-4912-8AF3-D438D9FD652E}" sibTransId="{EA581359-29FD-4A9A-9DC1-9E2DCE493C11}"/>
    <dgm:cxn modelId="{A148DC91-AA67-41BC-9E0F-FB0CD23EA594}" type="presOf" srcId="{38864DC6-1043-4E76-B081-515F44B64C3D}" destId="{FCC243CB-11CB-4195-A4C7-8F4D08A92FC8}" srcOrd="0" destOrd="0" presId="urn:microsoft.com/office/officeart/2005/8/layout/chevron2"/>
    <dgm:cxn modelId="{8D7F99BB-7D8A-4503-BC18-3C9245936432}" type="presParOf" srcId="{FCC243CB-11CB-4195-A4C7-8F4D08A92FC8}" destId="{71B12010-F267-4B31-BE31-D379FDEBAD36}" srcOrd="0" destOrd="0" presId="urn:microsoft.com/office/officeart/2005/8/layout/chevron2"/>
    <dgm:cxn modelId="{F1775892-E082-480B-93B9-DD531FCDBD4E}" type="presParOf" srcId="{71B12010-F267-4B31-BE31-D379FDEBAD36}" destId="{C3A32A10-6FA2-40CE-974D-99EE848AC1D6}" srcOrd="0" destOrd="0" presId="urn:microsoft.com/office/officeart/2005/8/layout/chevron2"/>
    <dgm:cxn modelId="{B1DE5066-D1E1-4EFC-9BC1-006AB971166A}" type="presParOf" srcId="{71B12010-F267-4B31-BE31-D379FDEBAD36}" destId="{73B6DACD-2DF9-48B1-B897-324604177D01}" srcOrd="1" destOrd="0" presId="urn:microsoft.com/office/officeart/2005/8/layout/chevron2"/>
    <dgm:cxn modelId="{5646E72E-BEE3-455A-8430-3BE0926856DD}" type="presParOf" srcId="{FCC243CB-11CB-4195-A4C7-8F4D08A92FC8}" destId="{08BB4CA9-52D4-46B2-9A25-B9F7BD7C50AA}" srcOrd="1" destOrd="0" presId="urn:microsoft.com/office/officeart/2005/8/layout/chevron2"/>
    <dgm:cxn modelId="{3AACDD3B-4010-460C-8AB8-B04D09DDA2C0}" type="presParOf" srcId="{FCC243CB-11CB-4195-A4C7-8F4D08A92FC8}" destId="{328B10D4-A1B1-40E0-88E6-7BAC5C761880}" srcOrd="2" destOrd="0" presId="urn:microsoft.com/office/officeart/2005/8/layout/chevron2"/>
    <dgm:cxn modelId="{F839C6F1-7379-41BE-AC89-DC8310DA1EAE}" type="presParOf" srcId="{328B10D4-A1B1-40E0-88E6-7BAC5C761880}" destId="{F922107C-D185-4CF2-9E81-8672A04F2D76}" srcOrd="0" destOrd="0" presId="urn:microsoft.com/office/officeart/2005/8/layout/chevron2"/>
    <dgm:cxn modelId="{AC55C90A-D483-4EC4-83A2-2DAC55A87BF7}" type="presParOf" srcId="{328B10D4-A1B1-40E0-88E6-7BAC5C761880}" destId="{4BA6A050-0B5D-4130-BBE3-4CEA04022780}" srcOrd="1" destOrd="0" presId="urn:microsoft.com/office/officeart/2005/8/layout/chevron2"/>
    <dgm:cxn modelId="{E728A6F8-8E7E-4CC4-93F9-B7369A050036}" type="presParOf" srcId="{FCC243CB-11CB-4195-A4C7-8F4D08A92FC8}" destId="{2F99B251-69DA-4C0E-9D28-CA95E8261BD8}" srcOrd="3" destOrd="0" presId="urn:microsoft.com/office/officeart/2005/8/layout/chevron2"/>
    <dgm:cxn modelId="{606F092D-D6CA-4787-A8BC-77B3D2974A25}" type="presParOf" srcId="{FCC243CB-11CB-4195-A4C7-8F4D08A92FC8}" destId="{151A981B-0AF2-4F20-8AFF-263832C631A1}" srcOrd="4" destOrd="0" presId="urn:microsoft.com/office/officeart/2005/8/layout/chevron2"/>
    <dgm:cxn modelId="{C67A73BD-5F5F-439B-B0D7-9C8A8AF72FF4}" type="presParOf" srcId="{151A981B-0AF2-4F20-8AFF-263832C631A1}" destId="{B4E79B37-C921-438A-A119-3330D3593831}" srcOrd="0" destOrd="0" presId="urn:microsoft.com/office/officeart/2005/8/layout/chevron2"/>
    <dgm:cxn modelId="{E35B3025-B0FC-441D-8568-DB5F49C30560}" type="presParOf" srcId="{151A981B-0AF2-4F20-8AFF-263832C631A1}" destId="{8FF809C3-AE6B-4FF1-B13C-A59876D74A8D}" srcOrd="1" destOrd="0" presId="urn:microsoft.com/office/officeart/2005/8/layout/chevron2"/>
    <dgm:cxn modelId="{7DCD0ACF-75B4-4603-8A1C-8F679F90BAD5}" type="presParOf" srcId="{FCC243CB-11CB-4195-A4C7-8F4D08A92FC8}" destId="{9F7CA9EF-D0D8-4B64-A04E-6F133B7C9F38}" srcOrd="5" destOrd="0" presId="urn:microsoft.com/office/officeart/2005/8/layout/chevron2"/>
    <dgm:cxn modelId="{A257073F-6104-487C-BE05-58225049391C}" type="presParOf" srcId="{FCC243CB-11CB-4195-A4C7-8F4D08A92FC8}" destId="{2DED9A5D-6F60-4EDE-B983-78333E943578}" srcOrd="6" destOrd="0" presId="urn:microsoft.com/office/officeart/2005/8/layout/chevron2"/>
    <dgm:cxn modelId="{65D6008F-9F31-4C22-AA20-8AC330E0AF26}" type="presParOf" srcId="{2DED9A5D-6F60-4EDE-B983-78333E943578}" destId="{AF175076-A84D-44F4-9955-593E2FD07378}" srcOrd="0" destOrd="0" presId="urn:microsoft.com/office/officeart/2005/8/layout/chevron2"/>
    <dgm:cxn modelId="{5E5A7ECC-0A29-4561-BBEC-84013898B49D}" type="presParOf" srcId="{2DED9A5D-6F60-4EDE-B983-78333E943578}" destId="{56DF9AD9-31A9-4E8F-9DF3-35B154D980BF}" srcOrd="1" destOrd="0" presId="urn:microsoft.com/office/officeart/2005/8/layout/chevron2"/>
    <dgm:cxn modelId="{224CCEA2-ECA5-4316-B7DA-17C9A88EF947}" type="presParOf" srcId="{FCC243CB-11CB-4195-A4C7-8F4D08A92FC8}" destId="{84AAF839-AE7B-4ADD-B988-AEC24278607D}" srcOrd="7" destOrd="0" presId="urn:microsoft.com/office/officeart/2005/8/layout/chevron2"/>
    <dgm:cxn modelId="{DC9B7EC1-AD40-4EE3-AB24-2837DB60969F}" type="presParOf" srcId="{FCC243CB-11CB-4195-A4C7-8F4D08A92FC8}" destId="{FD614C18-FCED-40E9-890A-B60A8E540F89}" srcOrd="8" destOrd="0" presId="urn:microsoft.com/office/officeart/2005/8/layout/chevron2"/>
    <dgm:cxn modelId="{7D19AA21-85B4-4613-A0B9-116BBFBCFA0B}" type="presParOf" srcId="{FD614C18-FCED-40E9-890A-B60A8E540F89}" destId="{110ACDCC-C086-434C-B2D1-1FBC150E3AD8}" srcOrd="0" destOrd="0" presId="urn:microsoft.com/office/officeart/2005/8/layout/chevron2"/>
    <dgm:cxn modelId="{A4833F37-F0EF-4FC7-A4AA-C96242F0EF57}" type="presParOf" srcId="{FD614C18-FCED-40E9-890A-B60A8E540F89}" destId="{82C40E4A-D04A-4305-86DE-CF21CB309A70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8864DC6-1043-4E76-B081-515F44B64C3D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8F0AB0F-4F97-485C-93D4-43801A8A3B27}">
      <dgm:prSet phldrT="[Text]" custT="1"/>
      <dgm:spPr/>
      <dgm:t>
        <a:bodyPr/>
        <a:lstStyle/>
        <a:p>
          <a:r>
            <a:rPr lang="en-US" sz="1800" b="1" dirty="0" smtClean="0"/>
            <a:t>6</a:t>
          </a:r>
          <a:endParaRPr lang="en-US" sz="1800" b="1" dirty="0"/>
        </a:p>
      </dgm:t>
    </dgm:pt>
    <dgm:pt modelId="{E96D72FF-59F9-4472-A027-9022082DF3AE}" type="parTrans" cxnId="{FBE80E52-720B-4997-8637-8CAED63BE6EF}">
      <dgm:prSet/>
      <dgm:spPr/>
      <dgm:t>
        <a:bodyPr/>
        <a:lstStyle/>
        <a:p>
          <a:endParaRPr lang="en-US"/>
        </a:p>
      </dgm:t>
    </dgm:pt>
    <dgm:pt modelId="{D3CEB6D2-11E5-4B1B-9791-1E3DC74459FE}" type="sibTrans" cxnId="{FBE80E52-720B-4997-8637-8CAED63BE6EF}">
      <dgm:prSet/>
      <dgm:spPr/>
      <dgm:t>
        <a:bodyPr/>
        <a:lstStyle/>
        <a:p>
          <a:endParaRPr lang="en-US"/>
        </a:p>
      </dgm:t>
    </dgm:pt>
    <dgm:pt modelId="{85BE0FE5-9F49-422D-982E-334126A2E60E}">
      <dgm:prSet phldrT="[Text]" phldr="1"/>
      <dgm:spPr/>
      <dgm:t>
        <a:bodyPr/>
        <a:lstStyle/>
        <a:p>
          <a:endParaRPr lang="en-US" dirty="0">
            <a:solidFill>
              <a:schemeClr val="bg1"/>
            </a:solidFill>
          </a:endParaRPr>
        </a:p>
      </dgm:t>
    </dgm:pt>
    <dgm:pt modelId="{8D9CE7D5-3CB6-4378-8A63-434B28707DAC}" type="parTrans" cxnId="{D93FD883-306F-44EA-88FB-EB17DF0B8585}">
      <dgm:prSet/>
      <dgm:spPr/>
      <dgm:t>
        <a:bodyPr/>
        <a:lstStyle/>
        <a:p>
          <a:endParaRPr lang="en-US"/>
        </a:p>
      </dgm:t>
    </dgm:pt>
    <dgm:pt modelId="{E07214BB-B8B5-4169-BF42-2D2A28CC412D}" type="sibTrans" cxnId="{D93FD883-306F-44EA-88FB-EB17DF0B8585}">
      <dgm:prSet/>
      <dgm:spPr/>
      <dgm:t>
        <a:bodyPr/>
        <a:lstStyle/>
        <a:p>
          <a:endParaRPr lang="en-US"/>
        </a:p>
      </dgm:t>
    </dgm:pt>
    <dgm:pt modelId="{5C750A0A-E4F5-42B9-8D91-4455F5F74F97}">
      <dgm:prSet phldrT="[Text]" custT="1"/>
      <dgm:spPr/>
      <dgm:t>
        <a:bodyPr/>
        <a:lstStyle/>
        <a:p>
          <a:r>
            <a:rPr lang="en-US" sz="1800" b="1" dirty="0" smtClean="0"/>
            <a:t>7</a:t>
          </a:r>
          <a:endParaRPr lang="en-US" sz="1800" b="1" dirty="0"/>
        </a:p>
      </dgm:t>
    </dgm:pt>
    <dgm:pt modelId="{9F9E6A12-FF27-4FA7-94AC-1ABBEC83BCB7}" type="parTrans" cxnId="{72D662E1-0EE0-4C30-9E08-2B09C7DCE520}">
      <dgm:prSet/>
      <dgm:spPr/>
      <dgm:t>
        <a:bodyPr/>
        <a:lstStyle/>
        <a:p>
          <a:endParaRPr lang="en-US"/>
        </a:p>
      </dgm:t>
    </dgm:pt>
    <dgm:pt modelId="{1928C66B-8EAE-4340-BE1B-AEE7C2F54797}" type="sibTrans" cxnId="{72D662E1-0EE0-4C30-9E08-2B09C7DCE520}">
      <dgm:prSet/>
      <dgm:spPr/>
      <dgm:t>
        <a:bodyPr/>
        <a:lstStyle/>
        <a:p>
          <a:endParaRPr lang="en-US"/>
        </a:p>
      </dgm:t>
    </dgm:pt>
    <dgm:pt modelId="{0D7728D3-4785-4FCA-8399-354C63A4DCFA}">
      <dgm:prSet phldrT="[Text]" phldr="1"/>
      <dgm:spPr/>
      <dgm:t>
        <a:bodyPr/>
        <a:lstStyle/>
        <a:p>
          <a:endParaRPr lang="en-US" dirty="0">
            <a:solidFill>
              <a:schemeClr val="bg1"/>
            </a:solidFill>
          </a:endParaRPr>
        </a:p>
      </dgm:t>
    </dgm:pt>
    <dgm:pt modelId="{03DD6B07-DAFD-4912-8AF3-D438D9FD652E}" type="parTrans" cxnId="{69809797-9DCF-42A2-A897-9B327ED9C20A}">
      <dgm:prSet/>
      <dgm:spPr/>
      <dgm:t>
        <a:bodyPr/>
        <a:lstStyle/>
        <a:p>
          <a:endParaRPr lang="en-US"/>
        </a:p>
      </dgm:t>
    </dgm:pt>
    <dgm:pt modelId="{EA581359-29FD-4A9A-9DC1-9E2DCE493C11}" type="sibTrans" cxnId="{69809797-9DCF-42A2-A897-9B327ED9C20A}">
      <dgm:prSet/>
      <dgm:spPr/>
      <dgm:t>
        <a:bodyPr/>
        <a:lstStyle/>
        <a:p>
          <a:endParaRPr lang="en-US"/>
        </a:p>
      </dgm:t>
    </dgm:pt>
    <dgm:pt modelId="{BCB706F1-CF6F-4682-9857-C4C402EDB624}">
      <dgm:prSet phldrT="[Text]" phldr="1"/>
      <dgm:spPr/>
      <dgm:t>
        <a:bodyPr/>
        <a:lstStyle/>
        <a:p>
          <a:endParaRPr lang="en-US" dirty="0">
            <a:solidFill>
              <a:schemeClr val="bg1"/>
            </a:solidFill>
          </a:endParaRPr>
        </a:p>
      </dgm:t>
    </dgm:pt>
    <dgm:pt modelId="{16F2EEA6-ADB4-49D7-936F-9119806A7B86}" type="parTrans" cxnId="{71ACA1D4-A591-486E-91E0-93EFDDE2DA8A}">
      <dgm:prSet/>
      <dgm:spPr/>
      <dgm:t>
        <a:bodyPr/>
        <a:lstStyle/>
        <a:p>
          <a:endParaRPr lang="en-US"/>
        </a:p>
      </dgm:t>
    </dgm:pt>
    <dgm:pt modelId="{68B4AB47-8826-4A3F-B309-75221A76C653}" type="sibTrans" cxnId="{71ACA1D4-A591-486E-91E0-93EFDDE2DA8A}">
      <dgm:prSet/>
      <dgm:spPr/>
      <dgm:t>
        <a:bodyPr/>
        <a:lstStyle/>
        <a:p>
          <a:endParaRPr lang="en-US"/>
        </a:p>
      </dgm:t>
    </dgm:pt>
    <dgm:pt modelId="{4269A370-1EEE-4631-AAB5-FD03A6B2ABE5}">
      <dgm:prSet phldrT="[Text]" custT="1"/>
      <dgm:spPr>
        <a:solidFill>
          <a:schemeClr val="accent1"/>
        </a:solidFill>
      </dgm:spPr>
      <dgm:t>
        <a:bodyPr/>
        <a:lstStyle/>
        <a:p>
          <a:r>
            <a:rPr lang="en-US" sz="1800" b="1" dirty="0" smtClean="0"/>
            <a:t>8</a:t>
          </a:r>
          <a:endParaRPr lang="en-US" sz="1800" b="1" dirty="0"/>
        </a:p>
      </dgm:t>
    </dgm:pt>
    <dgm:pt modelId="{B7C0F185-3BCF-4D1D-BEC2-BE14DE449692}" type="parTrans" cxnId="{CCB3E748-0A55-49DF-8000-60EF071064A0}">
      <dgm:prSet/>
      <dgm:spPr/>
      <dgm:t>
        <a:bodyPr/>
        <a:lstStyle/>
        <a:p>
          <a:endParaRPr lang="en-US"/>
        </a:p>
      </dgm:t>
    </dgm:pt>
    <dgm:pt modelId="{AE2DDD37-4C87-4206-9303-392783E1D0DF}" type="sibTrans" cxnId="{CCB3E748-0A55-49DF-8000-60EF071064A0}">
      <dgm:prSet/>
      <dgm:spPr/>
      <dgm:t>
        <a:bodyPr/>
        <a:lstStyle/>
        <a:p>
          <a:endParaRPr lang="en-US"/>
        </a:p>
      </dgm:t>
    </dgm:pt>
    <dgm:pt modelId="{6773C743-7BE9-4D87-B2E5-2792A2BE989A}">
      <dgm:prSet phldrT="[Text]" custT="1"/>
      <dgm:spPr/>
      <dgm:t>
        <a:bodyPr/>
        <a:lstStyle/>
        <a:p>
          <a:r>
            <a:rPr lang="en-US" sz="1800" b="1" dirty="0" smtClean="0"/>
            <a:t>9</a:t>
          </a:r>
          <a:endParaRPr lang="en-US" sz="1800" b="1" dirty="0"/>
        </a:p>
      </dgm:t>
    </dgm:pt>
    <dgm:pt modelId="{B2C07208-8C5F-46A4-8554-0D6A8ED3AB3F}" type="parTrans" cxnId="{37B82914-838B-4AFD-98E5-F47499696565}">
      <dgm:prSet/>
      <dgm:spPr/>
      <dgm:t>
        <a:bodyPr/>
        <a:lstStyle/>
        <a:p>
          <a:endParaRPr lang="en-US"/>
        </a:p>
      </dgm:t>
    </dgm:pt>
    <dgm:pt modelId="{8F912B22-17DD-45F8-BDEC-210F2694D5A6}" type="sibTrans" cxnId="{37B82914-838B-4AFD-98E5-F47499696565}">
      <dgm:prSet/>
      <dgm:spPr/>
      <dgm:t>
        <a:bodyPr/>
        <a:lstStyle/>
        <a:p>
          <a:endParaRPr lang="en-US"/>
        </a:p>
      </dgm:t>
    </dgm:pt>
    <dgm:pt modelId="{58265C21-27B9-42D5-8E7F-718C50215119}">
      <dgm:prSet phldrT="[Text]" custT="1"/>
      <dgm:spPr/>
      <dgm:t>
        <a:bodyPr/>
        <a:lstStyle/>
        <a:p>
          <a:r>
            <a:rPr lang="en-US" sz="1800" b="1" dirty="0" smtClean="0"/>
            <a:t>10</a:t>
          </a:r>
          <a:endParaRPr lang="en-US" sz="1800" b="1" dirty="0"/>
        </a:p>
      </dgm:t>
    </dgm:pt>
    <dgm:pt modelId="{1C32375A-E881-4462-89E1-5F32B750ACC0}" type="parTrans" cxnId="{AE30736B-ED44-4ED8-B4C2-21227AA3C373}">
      <dgm:prSet/>
      <dgm:spPr/>
      <dgm:t>
        <a:bodyPr/>
        <a:lstStyle/>
        <a:p>
          <a:endParaRPr lang="en-US"/>
        </a:p>
      </dgm:t>
    </dgm:pt>
    <dgm:pt modelId="{B0CEA978-68B3-4DF8-96A8-24B0826456E1}" type="sibTrans" cxnId="{AE30736B-ED44-4ED8-B4C2-21227AA3C373}">
      <dgm:prSet/>
      <dgm:spPr/>
      <dgm:t>
        <a:bodyPr/>
        <a:lstStyle/>
        <a:p>
          <a:endParaRPr lang="en-US"/>
        </a:p>
      </dgm:t>
    </dgm:pt>
    <dgm:pt modelId="{FCC243CB-11CB-4195-A4C7-8F4D08A92FC8}" type="pres">
      <dgm:prSet presAssocID="{38864DC6-1043-4E76-B081-515F44B64C3D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1B12010-F267-4B31-BE31-D379FDEBAD36}" type="pres">
      <dgm:prSet presAssocID="{08F0AB0F-4F97-485C-93D4-43801A8A3B27}" presName="composite" presStyleCnt="0"/>
      <dgm:spPr/>
    </dgm:pt>
    <dgm:pt modelId="{C3A32A10-6FA2-40CE-974D-99EE848AC1D6}" type="pres">
      <dgm:prSet presAssocID="{08F0AB0F-4F97-485C-93D4-43801A8A3B27}" presName="parentText" presStyleLbl="alignNode1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3B6DACD-2DF9-48B1-B897-324604177D01}" type="pres">
      <dgm:prSet presAssocID="{08F0AB0F-4F97-485C-93D4-43801A8A3B27}" presName="descendantText" presStyleLbl="alignAcc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8BB4CA9-52D4-46B2-9A25-B9F7BD7C50AA}" type="pres">
      <dgm:prSet presAssocID="{D3CEB6D2-11E5-4B1B-9791-1E3DC74459FE}" presName="sp" presStyleCnt="0"/>
      <dgm:spPr/>
    </dgm:pt>
    <dgm:pt modelId="{328B10D4-A1B1-40E0-88E6-7BAC5C761880}" type="pres">
      <dgm:prSet presAssocID="{5C750A0A-E4F5-42B9-8D91-4455F5F74F97}" presName="composite" presStyleCnt="0"/>
      <dgm:spPr/>
    </dgm:pt>
    <dgm:pt modelId="{F922107C-D185-4CF2-9E81-8672A04F2D76}" type="pres">
      <dgm:prSet presAssocID="{5C750A0A-E4F5-42B9-8D91-4455F5F74F97}" presName="parentText" presStyleLbl="align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BA6A050-0B5D-4130-BBE3-4CEA04022780}" type="pres">
      <dgm:prSet presAssocID="{5C750A0A-E4F5-42B9-8D91-4455F5F74F97}" presName="descendantText" presStyleLbl="alignAcc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F99B251-69DA-4C0E-9D28-CA95E8261BD8}" type="pres">
      <dgm:prSet presAssocID="{1928C66B-8EAE-4340-BE1B-AEE7C2F54797}" presName="sp" presStyleCnt="0"/>
      <dgm:spPr/>
    </dgm:pt>
    <dgm:pt modelId="{151A981B-0AF2-4F20-8AFF-263832C631A1}" type="pres">
      <dgm:prSet presAssocID="{4269A370-1EEE-4631-AAB5-FD03A6B2ABE5}" presName="composite" presStyleCnt="0"/>
      <dgm:spPr/>
    </dgm:pt>
    <dgm:pt modelId="{B4E79B37-C921-438A-A119-3330D3593831}" type="pres">
      <dgm:prSet presAssocID="{4269A370-1EEE-4631-AAB5-FD03A6B2ABE5}" presName="parentText" presStyleLbl="align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FF809C3-AE6B-4FF1-B13C-A59876D74A8D}" type="pres">
      <dgm:prSet presAssocID="{4269A370-1EEE-4631-AAB5-FD03A6B2ABE5}" presName="descendantText" presStyleLbl="alignAcc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F7CA9EF-D0D8-4B64-A04E-6F133B7C9F38}" type="pres">
      <dgm:prSet presAssocID="{AE2DDD37-4C87-4206-9303-392783E1D0DF}" presName="sp" presStyleCnt="0"/>
      <dgm:spPr/>
    </dgm:pt>
    <dgm:pt modelId="{2DED9A5D-6F60-4EDE-B983-78333E943578}" type="pres">
      <dgm:prSet presAssocID="{6773C743-7BE9-4D87-B2E5-2792A2BE989A}" presName="composite" presStyleCnt="0"/>
      <dgm:spPr/>
    </dgm:pt>
    <dgm:pt modelId="{AF175076-A84D-44F4-9955-593E2FD07378}" type="pres">
      <dgm:prSet presAssocID="{6773C743-7BE9-4D87-B2E5-2792A2BE989A}" presName="parentText" presStyleLbl="align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6DF9AD9-31A9-4E8F-9DF3-35B154D980BF}" type="pres">
      <dgm:prSet presAssocID="{6773C743-7BE9-4D87-B2E5-2792A2BE989A}" presName="descendantText" presStyleLbl="alignAcc1" presStyleIdx="3" presStyleCnt="5">
        <dgm:presLayoutVars>
          <dgm:bulletEnabled val="1"/>
        </dgm:presLayoutVars>
      </dgm:prSet>
      <dgm:spPr/>
    </dgm:pt>
    <dgm:pt modelId="{84AAF839-AE7B-4ADD-B988-AEC24278607D}" type="pres">
      <dgm:prSet presAssocID="{8F912B22-17DD-45F8-BDEC-210F2694D5A6}" presName="sp" presStyleCnt="0"/>
      <dgm:spPr/>
    </dgm:pt>
    <dgm:pt modelId="{FD614C18-FCED-40E9-890A-B60A8E540F89}" type="pres">
      <dgm:prSet presAssocID="{58265C21-27B9-42D5-8E7F-718C50215119}" presName="composite" presStyleCnt="0"/>
      <dgm:spPr/>
    </dgm:pt>
    <dgm:pt modelId="{110ACDCC-C086-434C-B2D1-1FBC150E3AD8}" type="pres">
      <dgm:prSet presAssocID="{58265C21-27B9-42D5-8E7F-718C50215119}" presName="parentText" presStyleLbl="align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2C40E4A-D04A-4305-86DE-CF21CB309A70}" type="pres">
      <dgm:prSet presAssocID="{58265C21-27B9-42D5-8E7F-718C50215119}" presName="descendantText" presStyleLbl="alignAcc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18347E3-90C3-4365-A4AE-54162C1AD5D4}" type="presOf" srcId="{6773C743-7BE9-4D87-B2E5-2792A2BE989A}" destId="{AF175076-A84D-44F4-9955-593E2FD07378}" srcOrd="0" destOrd="0" presId="urn:microsoft.com/office/officeart/2005/8/layout/chevron2"/>
    <dgm:cxn modelId="{FBE80E52-720B-4997-8637-8CAED63BE6EF}" srcId="{38864DC6-1043-4E76-B081-515F44B64C3D}" destId="{08F0AB0F-4F97-485C-93D4-43801A8A3B27}" srcOrd="0" destOrd="0" parTransId="{E96D72FF-59F9-4472-A027-9022082DF3AE}" sibTransId="{D3CEB6D2-11E5-4B1B-9791-1E3DC74459FE}"/>
    <dgm:cxn modelId="{A6FAE53D-2242-4D58-8FCF-BDDA1DA10AAB}" type="presOf" srcId="{BCB706F1-CF6F-4682-9857-C4C402EDB624}" destId="{4BA6A050-0B5D-4130-BBE3-4CEA04022780}" srcOrd="0" destOrd="1" presId="urn:microsoft.com/office/officeart/2005/8/layout/chevron2"/>
    <dgm:cxn modelId="{EE9D0735-12B4-4796-98D1-542253C52379}" type="presOf" srcId="{4269A370-1EEE-4631-AAB5-FD03A6B2ABE5}" destId="{B4E79B37-C921-438A-A119-3330D3593831}" srcOrd="0" destOrd="0" presId="urn:microsoft.com/office/officeart/2005/8/layout/chevron2"/>
    <dgm:cxn modelId="{AE30736B-ED44-4ED8-B4C2-21227AA3C373}" srcId="{38864DC6-1043-4E76-B081-515F44B64C3D}" destId="{58265C21-27B9-42D5-8E7F-718C50215119}" srcOrd="4" destOrd="0" parTransId="{1C32375A-E881-4462-89E1-5F32B750ACC0}" sibTransId="{B0CEA978-68B3-4DF8-96A8-24B0826456E1}"/>
    <dgm:cxn modelId="{72D662E1-0EE0-4C30-9E08-2B09C7DCE520}" srcId="{38864DC6-1043-4E76-B081-515F44B64C3D}" destId="{5C750A0A-E4F5-42B9-8D91-4455F5F74F97}" srcOrd="1" destOrd="0" parTransId="{9F9E6A12-FF27-4FA7-94AC-1ABBEC83BCB7}" sibTransId="{1928C66B-8EAE-4340-BE1B-AEE7C2F54797}"/>
    <dgm:cxn modelId="{71ACA1D4-A591-486E-91E0-93EFDDE2DA8A}" srcId="{5C750A0A-E4F5-42B9-8D91-4455F5F74F97}" destId="{BCB706F1-CF6F-4682-9857-C4C402EDB624}" srcOrd="1" destOrd="0" parTransId="{16F2EEA6-ADB4-49D7-936F-9119806A7B86}" sibTransId="{68B4AB47-8826-4A3F-B309-75221A76C653}"/>
    <dgm:cxn modelId="{37B82914-838B-4AFD-98E5-F47499696565}" srcId="{38864DC6-1043-4E76-B081-515F44B64C3D}" destId="{6773C743-7BE9-4D87-B2E5-2792A2BE989A}" srcOrd="3" destOrd="0" parTransId="{B2C07208-8C5F-46A4-8554-0D6A8ED3AB3F}" sibTransId="{8F912B22-17DD-45F8-BDEC-210F2694D5A6}"/>
    <dgm:cxn modelId="{D93FD883-306F-44EA-88FB-EB17DF0B8585}" srcId="{08F0AB0F-4F97-485C-93D4-43801A8A3B27}" destId="{85BE0FE5-9F49-422D-982E-334126A2E60E}" srcOrd="0" destOrd="0" parTransId="{8D9CE7D5-3CB6-4378-8A63-434B28707DAC}" sibTransId="{E07214BB-B8B5-4169-BF42-2D2A28CC412D}"/>
    <dgm:cxn modelId="{D8D28B47-1885-41DC-9A11-A5EC3AB70D3E}" type="presOf" srcId="{85BE0FE5-9F49-422D-982E-334126A2E60E}" destId="{73B6DACD-2DF9-48B1-B897-324604177D01}" srcOrd="0" destOrd="0" presId="urn:microsoft.com/office/officeart/2005/8/layout/chevron2"/>
    <dgm:cxn modelId="{CCB3E748-0A55-49DF-8000-60EF071064A0}" srcId="{38864DC6-1043-4E76-B081-515F44B64C3D}" destId="{4269A370-1EEE-4631-AAB5-FD03A6B2ABE5}" srcOrd="2" destOrd="0" parTransId="{B7C0F185-3BCF-4D1D-BEC2-BE14DE449692}" sibTransId="{AE2DDD37-4C87-4206-9303-392783E1D0DF}"/>
    <dgm:cxn modelId="{0C5C37D6-1EA3-4941-977C-EFC310E7AE6A}" type="presOf" srcId="{5C750A0A-E4F5-42B9-8D91-4455F5F74F97}" destId="{F922107C-D185-4CF2-9E81-8672A04F2D76}" srcOrd="0" destOrd="0" presId="urn:microsoft.com/office/officeart/2005/8/layout/chevron2"/>
    <dgm:cxn modelId="{F7ADB3D4-286E-4766-B7D2-DD38457B7F70}" type="presOf" srcId="{0D7728D3-4785-4FCA-8399-354C63A4DCFA}" destId="{4BA6A050-0B5D-4130-BBE3-4CEA04022780}" srcOrd="0" destOrd="0" presId="urn:microsoft.com/office/officeart/2005/8/layout/chevron2"/>
    <dgm:cxn modelId="{69809797-9DCF-42A2-A897-9B327ED9C20A}" srcId="{5C750A0A-E4F5-42B9-8D91-4455F5F74F97}" destId="{0D7728D3-4785-4FCA-8399-354C63A4DCFA}" srcOrd="0" destOrd="0" parTransId="{03DD6B07-DAFD-4912-8AF3-D438D9FD652E}" sibTransId="{EA581359-29FD-4A9A-9DC1-9E2DCE493C11}"/>
    <dgm:cxn modelId="{0E542511-0A1D-4FCD-8799-980988898840}" type="presOf" srcId="{08F0AB0F-4F97-485C-93D4-43801A8A3B27}" destId="{C3A32A10-6FA2-40CE-974D-99EE848AC1D6}" srcOrd="0" destOrd="0" presId="urn:microsoft.com/office/officeart/2005/8/layout/chevron2"/>
    <dgm:cxn modelId="{CDC5F98F-4622-4040-8F80-A05C1244ED82}" type="presOf" srcId="{58265C21-27B9-42D5-8E7F-718C50215119}" destId="{110ACDCC-C086-434C-B2D1-1FBC150E3AD8}" srcOrd="0" destOrd="0" presId="urn:microsoft.com/office/officeart/2005/8/layout/chevron2"/>
    <dgm:cxn modelId="{BBCD4C09-55B9-4DBC-913A-6852AEB4D4B7}" type="presOf" srcId="{38864DC6-1043-4E76-B081-515F44B64C3D}" destId="{FCC243CB-11CB-4195-A4C7-8F4D08A92FC8}" srcOrd="0" destOrd="0" presId="urn:microsoft.com/office/officeart/2005/8/layout/chevron2"/>
    <dgm:cxn modelId="{19DFCBC4-158C-415F-ACB9-341B730A1C89}" type="presParOf" srcId="{FCC243CB-11CB-4195-A4C7-8F4D08A92FC8}" destId="{71B12010-F267-4B31-BE31-D379FDEBAD36}" srcOrd="0" destOrd="0" presId="urn:microsoft.com/office/officeart/2005/8/layout/chevron2"/>
    <dgm:cxn modelId="{9B1C76D9-6EC8-4C3F-AB48-C832150CABA4}" type="presParOf" srcId="{71B12010-F267-4B31-BE31-D379FDEBAD36}" destId="{C3A32A10-6FA2-40CE-974D-99EE848AC1D6}" srcOrd="0" destOrd="0" presId="urn:microsoft.com/office/officeart/2005/8/layout/chevron2"/>
    <dgm:cxn modelId="{9B3C949B-2BB9-45CC-A901-663BA6A2156D}" type="presParOf" srcId="{71B12010-F267-4B31-BE31-D379FDEBAD36}" destId="{73B6DACD-2DF9-48B1-B897-324604177D01}" srcOrd="1" destOrd="0" presId="urn:microsoft.com/office/officeart/2005/8/layout/chevron2"/>
    <dgm:cxn modelId="{C5078901-DCB4-4083-A2AB-39C9B97D973B}" type="presParOf" srcId="{FCC243CB-11CB-4195-A4C7-8F4D08A92FC8}" destId="{08BB4CA9-52D4-46B2-9A25-B9F7BD7C50AA}" srcOrd="1" destOrd="0" presId="urn:microsoft.com/office/officeart/2005/8/layout/chevron2"/>
    <dgm:cxn modelId="{1ED64B32-5F9E-48DA-B119-1032AF6B045C}" type="presParOf" srcId="{FCC243CB-11CB-4195-A4C7-8F4D08A92FC8}" destId="{328B10D4-A1B1-40E0-88E6-7BAC5C761880}" srcOrd="2" destOrd="0" presId="urn:microsoft.com/office/officeart/2005/8/layout/chevron2"/>
    <dgm:cxn modelId="{9447A24A-727C-469A-B790-35A26376E298}" type="presParOf" srcId="{328B10D4-A1B1-40E0-88E6-7BAC5C761880}" destId="{F922107C-D185-4CF2-9E81-8672A04F2D76}" srcOrd="0" destOrd="0" presId="urn:microsoft.com/office/officeart/2005/8/layout/chevron2"/>
    <dgm:cxn modelId="{9B49DC71-F0CE-41E8-9074-346DACADDE7F}" type="presParOf" srcId="{328B10D4-A1B1-40E0-88E6-7BAC5C761880}" destId="{4BA6A050-0B5D-4130-BBE3-4CEA04022780}" srcOrd="1" destOrd="0" presId="urn:microsoft.com/office/officeart/2005/8/layout/chevron2"/>
    <dgm:cxn modelId="{9B746AF1-3212-49B1-8B4F-622B6DFC7F88}" type="presParOf" srcId="{FCC243CB-11CB-4195-A4C7-8F4D08A92FC8}" destId="{2F99B251-69DA-4C0E-9D28-CA95E8261BD8}" srcOrd="3" destOrd="0" presId="urn:microsoft.com/office/officeart/2005/8/layout/chevron2"/>
    <dgm:cxn modelId="{00E93E1C-64A9-4CF9-81F3-BD81189C3957}" type="presParOf" srcId="{FCC243CB-11CB-4195-A4C7-8F4D08A92FC8}" destId="{151A981B-0AF2-4F20-8AFF-263832C631A1}" srcOrd="4" destOrd="0" presId="urn:microsoft.com/office/officeart/2005/8/layout/chevron2"/>
    <dgm:cxn modelId="{F5B79483-7EFF-448E-8AF7-41A39E5785C5}" type="presParOf" srcId="{151A981B-0AF2-4F20-8AFF-263832C631A1}" destId="{B4E79B37-C921-438A-A119-3330D3593831}" srcOrd="0" destOrd="0" presId="urn:microsoft.com/office/officeart/2005/8/layout/chevron2"/>
    <dgm:cxn modelId="{E3CA5914-ED8B-4A2C-A1D9-7AF5F7AFE23A}" type="presParOf" srcId="{151A981B-0AF2-4F20-8AFF-263832C631A1}" destId="{8FF809C3-AE6B-4FF1-B13C-A59876D74A8D}" srcOrd="1" destOrd="0" presId="urn:microsoft.com/office/officeart/2005/8/layout/chevron2"/>
    <dgm:cxn modelId="{36EC4289-6834-4A85-95A3-296412146A08}" type="presParOf" srcId="{FCC243CB-11CB-4195-A4C7-8F4D08A92FC8}" destId="{9F7CA9EF-D0D8-4B64-A04E-6F133B7C9F38}" srcOrd="5" destOrd="0" presId="urn:microsoft.com/office/officeart/2005/8/layout/chevron2"/>
    <dgm:cxn modelId="{C0116C75-FA8A-481B-99E9-BD3FEA4CFF8A}" type="presParOf" srcId="{FCC243CB-11CB-4195-A4C7-8F4D08A92FC8}" destId="{2DED9A5D-6F60-4EDE-B983-78333E943578}" srcOrd="6" destOrd="0" presId="urn:microsoft.com/office/officeart/2005/8/layout/chevron2"/>
    <dgm:cxn modelId="{7A3F9663-6D60-477B-AA8D-BD7DCE414042}" type="presParOf" srcId="{2DED9A5D-6F60-4EDE-B983-78333E943578}" destId="{AF175076-A84D-44F4-9955-593E2FD07378}" srcOrd="0" destOrd="0" presId="urn:microsoft.com/office/officeart/2005/8/layout/chevron2"/>
    <dgm:cxn modelId="{DEDB9354-8544-4C0C-A544-F8DC78839FA0}" type="presParOf" srcId="{2DED9A5D-6F60-4EDE-B983-78333E943578}" destId="{56DF9AD9-31A9-4E8F-9DF3-35B154D980BF}" srcOrd="1" destOrd="0" presId="urn:microsoft.com/office/officeart/2005/8/layout/chevron2"/>
    <dgm:cxn modelId="{2FE77252-F374-4B20-B588-B64644CAE6BB}" type="presParOf" srcId="{FCC243CB-11CB-4195-A4C7-8F4D08A92FC8}" destId="{84AAF839-AE7B-4ADD-B988-AEC24278607D}" srcOrd="7" destOrd="0" presId="urn:microsoft.com/office/officeart/2005/8/layout/chevron2"/>
    <dgm:cxn modelId="{A7D8AC46-FBD4-4D4B-A934-0B408AF76A09}" type="presParOf" srcId="{FCC243CB-11CB-4195-A4C7-8F4D08A92FC8}" destId="{FD614C18-FCED-40E9-890A-B60A8E540F89}" srcOrd="8" destOrd="0" presId="urn:microsoft.com/office/officeart/2005/8/layout/chevron2"/>
    <dgm:cxn modelId="{36667ECB-CFB9-4465-900B-350A3D022B16}" type="presParOf" srcId="{FD614C18-FCED-40E9-890A-B60A8E540F89}" destId="{110ACDCC-C086-434C-B2D1-1FBC150E3AD8}" srcOrd="0" destOrd="0" presId="urn:microsoft.com/office/officeart/2005/8/layout/chevron2"/>
    <dgm:cxn modelId="{EB700474-44CB-4105-B5EA-5DA2E7590E18}" type="presParOf" srcId="{FD614C18-FCED-40E9-890A-B60A8E540F89}" destId="{82C40E4A-D04A-4305-86DE-CF21CB309A70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A32A10-6FA2-40CE-974D-99EE848AC1D6}">
      <dsp:nvSpPr>
        <dsp:cNvPr id="0" name=""/>
        <dsp:cNvSpPr/>
      </dsp:nvSpPr>
      <dsp:spPr>
        <a:xfrm rot="5400000">
          <a:off x="-168938" y="168938"/>
          <a:ext cx="1126256" cy="78837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1</a:t>
          </a:r>
          <a:endParaRPr lang="en-US" sz="1800" b="1" kern="1200" dirty="0"/>
        </a:p>
      </dsp:txBody>
      <dsp:txXfrm rot="-5400000">
        <a:off x="1" y="394190"/>
        <a:ext cx="788379" cy="337877"/>
      </dsp:txXfrm>
    </dsp:sp>
    <dsp:sp modelId="{73B6DACD-2DF9-48B1-B897-324604177D01}">
      <dsp:nvSpPr>
        <dsp:cNvPr id="0" name=""/>
        <dsp:cNvSpPr/>
      </dsp:nvSpPr>
      <dsp:spPr>
        <a:xfrm rot="5400000">
          <a:off x="1933156" y="-1143802"/>
          <a:ext cx="732066" cy="302162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0040" tIns="28575" rIns="28575" bIns="28575" numCol="1" spcCol="1270" anchor="ctr" anchorCtr="0">
          <a:noAutofit/>
        </a:bodyPr>
        <a:lstStyle/>
        <a:p>
          <a:pPr marL="285750" lvl="1" indent="-285750" algn="l" defTabSz="2000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4500" kern="1200" dirty="0"/>
        </a:p>
      </dsp:txBody>
      <dsp:txXfrm rot="-5400000">
        <a:off x="788380" y="36711"/>
        <a:ext cx="2985883" cy="660592"/>
      </dsp:txXfrm>
    </dsp:sp>
    <dsp:sp modelId="{F922107C-D185-4CF2-9E81-8672A04F2D76}">
      <dsp:nvSpPr>
        <dsp:cNvPr id="0" name=""/>
        <dsp:cNvSpPr/>
      </dsp:nvSpPr>
      <dsp:spPr>
        <a:xfrm rot="5400000">
          <a:off x="-168938" y="1160539"/>
          <a:ext cx="1126256" cy="78837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2</a:t>
          </a:r>
          <a:endParaRPr lang="en-US" sz="1800" b="1" kern="1200" dirty="0"/>
        </a:p>
      </dsp:txBody>
      <dsp:txXfrm rot="-5400000">
        <a:off x="1" y="1385791"/>
        <a:ext cx="788379" cy="337877"/>
      </dsp:txXfrm>
    </dsp:sp>
    <dsp:sp modelId="{4BA6A050-0B5D-4130-BBE3-4CEA04022780}">
      <dsp:nvSpPr>
        <dsp:cNvPr id="0" name=""/>
        <dsp:cNvSpPr/>
      </dsp:nvSpPr>
      <dsp:spPr>
        <a:xfrm rot="5400000">
          <a:off x="1933156" y="-149503"/>
          <a:ext cx="732066" cy="302162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0040" tIns="28575" rIns="28575" bIns="28575" numCol="1" spcCol="1270" anchor="ctr" anchorCtr="0">
          <a:noAutofit/>
        </a:bodyPr>
        <a:lstStyle/>
        <a:p>
          <a:pPr marL="285750" lvl="1" indent="-285750" algn="l" defTabSz="2000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4500" kern="1200" dirty="0">
            <a:solidFill>
              <a:schemeClr val="bg1"/>
            </a:solidFill>
          </a:endParaRPr>
        </a:p>
      </dsp:txBody>
      <dsp:txXfrm rot="-5400000">
        <a:off x="788380" y="1031010"/>
        <a:ext cx="2985883" cy="660592"/>
      </dsp:txXfrm>
    </dsp:sp>
    <dsp:sp modelId="{B4E79B37-C921-438A-A119-3330D3593831}">
      <dsp:nvSpPr>
        <dsp:cNvPr id="0" name=""/>
        <dsp:cNvSpPr/>
      </dsp:nvSpPr>
      <dsp:spPr>
        <a:xfrm rot="5400000">
          <a:off x="-168938" y="2154838"/>
          <a:ext cx="1126256" cy="788379"/>
        </a:xfrm>
        <a:prstGeom prst="chevron">
          <a:avLst/>
        </a:prstGeom>
        <a:solidFill>
          <a:schemeClr val="tx1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3</a:t>
          </a:r>
          <a:endParaRPr lang="en-US" sz="1800" b="1" kern="1200" dirty="0"/>
        </a:p>
      </dsp:txBody>
      <dsp:txXfrm rot="-5400000">
        <a:off x="1" y="2380090"/>
        <a:ext cx="788379" cy="337877"/>
      </dsp:txXfrm>
    </dsp:sp>
    <dsp:sp modelId="{8FF809C3-AE6B-4FF1-B13C-A59876D74A8D}">
      <dsp:nvSpPr>
        <dsp:cNvPr id="0" name=""/>
        <dsp:cNvSpPr/>
      </dsp:nvSpPr>
      <dsp:spPr>
        <a:xfrm rot="5400000">
          <a:off x="1933156" y="844794"/>
          <a:ext cx="732066" cy="3021620"/>
        </a:xfrm>
        <a:prstGeom prst="round2SameRect">
          <a:avLst/>
        </a:prstGeom>
        <a:solidFill>
          <a:schemeClr val="tx1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F175076-A84D-44F4-9955-593E2FD07378}">
      <dsp:nvSpPr>
        <dsp:cNvPr id="0" name=""/>
        <dsp:cNvSpPr/>
      </dsp:nvSpPr>
      <dsp:spPr>
        <a:xfrm rot="5400000">
          <a:off x="-168938" y="3149137"/>
          <a:ext cx="1126256" cy="78837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4</a:t>
          </a:r>
          <a:endParaRPr lang="en-US" sz="1800" b="1" kern="1200" dirty="0"/>
        </a:p>
      </dsp:txBody>
      <dsp:txXfrm rot="-5400000">
        <a:off x="1" y="3374389"/>
        <a:ext cx="788379" cy="337877"/>
      </dsp:txXfrm>
    </dsp:sp>
    <dsp:sp modelId="{56DF9AD9-31A9-4E8F-9DF3-35B154D980BF}">
      <dsp:nvSpPr>
        <dsp:cNvPr id="0" name=""/>
        <dsp:cNvSpPr/>
      </dsp:nvSpPr>
      <dsp:spPr>
        <a:xfrm rot="5400000">
          <a:off x="1933156" y="1839093"/>
          <a:ext cx="732066" cy="302162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10ACDCC-C086-434C-B2D1-1FBC150E3AD8}">
      <dsp:nvSpPr>
        <dsp:cNvPr id="0" name=""/>
        <dsp:cNvSpPr/>
      </dsp:nvSpPr>
      <dsp:spPr>
        <a:xfrm rot="5400000">
          <a:off x="-168938" y="4143435"/>
          <a:ext cx="1126256" cy="78837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5</a:t>
          </a:r>
          <a:endParaRPr lang="en-US" sz="1800" b="1" kern="1200" dirty="0"/>
        </a:p>
      </dsp:txBody>
      <dsp:txXfrm rot="-5400000">
        <a:off x="1" y="4368687"/>
        <a:ext cx="788379" cy="337877"/>
      </dsp:txXfrm>
    </dsp:sp>
    <dsp:sp modelId="{82C40E4A-D04A-4305-86DE-CF21CB309A70}">
      <dsp:nvSpPr>
        <dsp:cNvPr id="0" name=""/>
        <dsp:cNvSpPr/>
      </dsp:nvSpPr>
      <dsp:spPr>
        <a:xfrm rot="5400000">
          <a:off x="1933156" y="2833392"/>
          <a:ext cx="732066" cy="302162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A32A10-6FA2-40CE-974D-99EE848AC1D6}">
      <dsp:nvSpPr>
        <dsp:cNvPr id="0" name=""/>
        <dsp:cNvSpPr/>
      </dsp:nvSpPr>
      <dsp:spPr>
        <a:xfrm rot="5400000">
          <a:off x="-168388" y="169898"/>
          <a:ext cx="1122590" cy="78581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6</a:t>
          </a:r>
          <a:endParaRPr lang="en-US" sz="1800" b="1" kern="1200" dirty="0"/>
        </a:p>
      </dsp:txBody>
      <dsp:txXfrm rot="-5400000">
        <a:off x="1" y="394417"/>
        <a:ext cx="785813" cy="336777"/>
      </dsp:txXfrm>
    </dsp:sp>
    <dsp:sp modelId="{73B6DACD-2DF9-48B1-B897-324604177D01}">
      <dsp:nvSpPr>
        <dsp:cNvPr id="0" name=""/>
        <dsp:cNvSpPr/>
      </dsp:nvSpPr>
      <dsp:spPr>
        <a:xfrm rot="5400000">
          <a:off x="1991063" y="-1203740"/>
          <a:ext cx="729683" cy="314018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0040" tIns="28575" rIns="28575" bIns="28575" numCol="1" spcCol="1270" anchor="ctr" anchorCtr="0">
          <a:noAutofit/>
        </a:bodyPr>
        <a:lstStyle/>
        <a:p>
          <a:pPr marL="285750" lvl="1" indent="-285750" algn="l" defTabSz="20002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4500" kern="1200" dirty="0">
            <a:solidFill>
              <a:schemeClr val="bg1"/>
            </a:solidFill>
          </a:endParaRPr>
        </a:p>
      </dsp:txBody>
      <dsp:txXfrm rot="-5400000">
        <a:off x="785813" y="37130"/>
        <a:ext cx="3104564" cy="658443"/>
      </dsp:txXfrm>
    </dsp:sp>
    <dsp:sp modelId="{F922107C-D185-4CF2-9E81-8672A04F2D76}">
      <dsp:nvSpPr>
        <dsp:cNvPr id="0" name=""/>
        <dsp:cNvSpPr/>
      </dsp:nvSpPr>
      <dsp:spPr>
        <a:xfrm rot="5400000">
          <a:off x="-168388" y="1164845"/>
          <a:ext cx="1122590" cy="78581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7</a:t>
          </a:r>
          <a:endParaRPr lang="en-US" sz="1800" b="1" kern="1200" dirty="0"/>
        </a:p>
      </dsp:txBody>
      <dsp:txXfrm rot="-5400000">
        <a:off x="1" y="1389364"/>
        <a:ext cx="785813" cy="336777"/>
      </dsp:txXfrm>
    </dsp:sp>
    <dsp:sp modelId="{4BA6A050-0B5D-4130-BBE3-4CEA04022780}">
      <dsp:nvSpPr>
        <dsp:cNvPr id="0" name=""/>
        <dsp:cNvSpPr/>
      </dsp:nvSpPr>
      <dsp:spPr>
        <a:xfrm rot="5400000">
          <a:off x="1991063" y="-208793"/>
          <a:ext cx="729683" cy="314018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13970" rIns="13970" bIns="13970" numCol="1" spcCol="1270" anchor="ctr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2200" kern="1200" dirty="0">
            <a:solidFill>
              <a:schemeClr val="bg1"/>
            </a:solidFill>
          </a:endParaRPr>
        </a:p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2200" kern="1200" dirty="0">
            <a:solidFill>
              <a:schemeClr val="bg1"/>
            </a:solidFill>
          </a:endParaRPr>
        </a:p>
      </dsp:txBody>
      <dsp:txXfrm rot="-5400000">
        <a:off x="785813" y="1032077"/>
        <a:ext cx="3104564" cy="658443"/>
      </dsp:txXfrm>
    </dsp:sp>
    <dsp:sp modelId="{B4E79B37-C921-438A-A119-3330D3593831}">
      <dsp:nvSpPr>
        <dsp:cNvPr id="0" name=""/>
        <dsp:cNvSpPr/>
      </dsp:nvSpPr>
      <dsp:spPr>
        <a:xfrm rot="5400000">
          <a:off x="-168388" y="2159793"/>
          <a:ext cx="1122590" cy="785813"/>
        </a:xfrm>
        <a:prstGeom prst="chevron">
          <a:avLst/>
        </a:prstGeom>
        <a:solidFill>
          <a:schemeClr val="accent1"/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8</a:t>
          </a:r>
          <a:endParaRPr lang="en-US" sz="1800" b="1" kern="1200" dirty="0"/>
        </a:p>
      </dsp:txBody>
      <dsp:txXfrm rot="-5400000">
        <a:off x="1" y="2384312"/>
        <a:ext cx="785813" cy="336777"/>
      </dsp:txXfrm>
    </dsp:sp>
    <dsp:sp modelId="{8FF809C3-AE6B-4FF1-B13C-A59876D74A8D}">
      <dsp:nvSpPr>
        <dsp:cNvPr id="0" name=""/>
        <dsp:cNvSpPr/>
      </dsp:nvSpPr>
      <dsp:spPr>
        <a:xfrm rot="5400000">
          <a:off x="1991063" y="786154"/>
          <a:ext cx="729683" cy="314018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F175076-A84D-44F4-9955-593E2FD07378}">
      <dsp:nvSpPr>
        <dsp:cNvPr id="0" name=""/>
        <dsp:cNvSpPr/>
      </dsp:nvSpPr>
      <dsp:spPr>
        <a:xfrm rot="5400000">
          <a:off x="-168388" y="3154741"/>
          <a:ext cx="1122590" cy="78581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9</a:t>
          </a:r>
          <a:endParaRPr lang="en-US" sz="1800" b="1" kern="1200" dirty="0"/>
        </a:p>
      </dsp:txBody>
      <dsp:txXfrm rot="-5400000">
        <a:off x="1" y="3379260"/>
        <a:ext cx="785813" cy="336777"/>
      </dsp:txXfrm>
    </dsp:sp>
    <dsp:sp modelId="{56DF9AD9-31A9-4E8F-9DF3-35B154D980BF}">
      <dsp:nvSpPr>
        <dsp:cNvPr id="0" name=""/>
        <dsp:cNvSpPr/>
      </dsp:nvSpPr>
      <dsp:spPr>
        <a:xfrm rot="5400000">
          <a:off x="1991063" y="1781101"/>
          <a:ext cx="729683" cy="314018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10ACDCC-C086-434C-B2D1-1FBC150E3AD8}">
      <dsp:nvSpPr>
        <dsp:cNvPr id="0" name=""/>
        <dsp:cNvSpPr/>
      </dsp:nvSpPr>
      <dsp:spPr>
        <a:xfrm rot="5400000">
          <a:off x="-168388" y="4149688"/>
          <a:ext cx="1122590" cy="78581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10</a:t>
          </a:r>
          <a:endParaRPr lang="en-US" sz="1800" b="1" kern="1200" dirty="0"/>
        </a:p>
      </dsp:txBody>
      <dsp:txXfrm rot="-5400000">
        <a:off x="1" y="4374207"/>
        <a:ext cx="785813" cy="336777"/>
      </dsp:txXfrm>
    </dsp:sp>
    <dsp:sp modelId="{82C40E4A-D04A-4305-86DE-CF21CB309A70}">
      <dsp:nvSpPr>
        <dsp:cNvPr id="0" name=""/>
        <dsp:cNvSpPr/>
      </dsp:nvSpPr>
      <dsp:spPr>
        <a:xfrm rot="5400000">
          <a:off x="1991063" y="2776049"/>
          <a:ext cx="729683" cy="3140184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2.gif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png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image" Target="../media/image3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38.emf"/><Relationship Id="rId1" Type="http://schemas.openxmlformats.org/officeDocument/2006/relationships/image" Target="../media/image37.emf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image" Target="../media/image39.emf"/><Relationship Id="rId1" Type="http://schemas.openxmlformats.org/officeDocument/2006/relationships/image" Target="NULL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16</cdr:x>
      <cdr:y>0.33055</cdr:y>
    </cdr:from>
    <cdr:to>
      <cdr:x>0.97848</cdr:x>
      <cdr:y>0.42593</cdr:y>
    </cdr:to>
    <cdr:pic>
      <cdr:nvPicPr>
        <cdr:cNvPr id="2" name="Picture 1" descr="http://www.joe-skelly.com/images/mckesson-logo.gif"/>
        <cdr:cNvPicPr>
          <a:picLocks xmlns:a="http://schemas.openxmlformats.org/drawingml/2006/main" noChangeAspect="1" noChangeArrowheads="1"/>
        </cdr:cNvPicPr>
      </cdr:nvPicPr>
      <cdr:blipFill>
        <a:blip xmlns:a="http://schemas.openxmlformats.org/drawingml/2006/main" xmlns:r="http://schemas.openxmlformats.org/officeDocument/2006/relationships" r:embed="rId1" cstate="screen">
          <a:extLst>
            <a:ext uri="{28A0092B-C50C-407E-A947-70E740481C1C}">
              <a14:useLocalDpi xmlns:a14="http://schemas.microsoft.com/office/drawing/2010/main"/>
            </a:ext>
          </a:extLst>
        </a:blip>
        <a:srcRect xmlns:a="http://schemas.openxmlformats.org/drawingml/2006/main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7213461" y="1837921"/>
          <a:ext cx="1436322" cy="530336"/>
        </a:xfrm>
        <a:prstGeom xmlns:a="http://schemas.openxmlformats.org/drawingml/2006/main" prst="rect">
          <a:avLst/>
        </a:prstGeom>
        <a:noFill xmlns:a="http://schemas.openxmlformats.org/drawingml/2006/main"/>
      </cdr:spPr>
    </cdr:pic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32DCF8-E835-44AD-A13E-28D661F04E73}" type="datetimeFigureOut">
              <a:rPr lang="en-US" smtClean="0"/>
              <a:pPr/>
              <a:t>4/4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8496B7-3C02-4B2B-BB61-A690C14B275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7400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4AFDAE-816F-4F60-BFD0-8606BC0375FF}" type="datetimeFigureOut">
              <a:rPr lang="en-US" smtClean="0"/>
              <a:pPr/>
              <a:t>4/4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02ABC6-D630-4345-8B5F-2E09A4E5D08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47536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DC8863-943B-4CE4-B3A9-B3F9685AF7CF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39011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6422" y="4344031"/>
            <a:ext cx="5485158" cy="4114488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7A604C-8087-4FDA-9569-9FF35C58C66E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47" indent="-171447">
              <a:buFont typeface="Arial" panose="020B0604020202020204" pitchFamily="34" charset="0"/>
              <a:buChar char="•"/>
            </a:pPr>
            <a:r>
              <a:rPr lang="en-US" dirty="0" smtClean="0"/>
              <a:t>Matrix structure has it pros and cons as we all  know</a:t>
            </a:r>
          </a:p>
          <a:p>
            <a:pPr marL="171447" indent="-171447">
              <a:buFont typeface="Arial" panose="020B0604020202020204" pitchFamily="34" charset="0"/>
              <a:buChar char="•"/>
            </a:pPr>
            <a:r>
              <a:rPr lang="en-US" dirty="0" smtClean="0"/>
              <a:t>But still at the end of the day we all want to be special</a:t>
            </a:r>
          </a:p>
          <a:p>
            <a:pPr marL="171447" indent="-171447">
              <a:buFont typeface="Arial" panose="020B0604020202020204" pitchFamily="34" charset="0"/>
              <a:buChar char="•"/>
            </a:pPr>
            <a:r>
              <a:rPr lang="en-US" dirty="0" smtClean="0"/>
              <a:t>WE have few person also wanted to get special…who does not want to be special </a:t>
            </a:r>
          </a:p>
          <a:p>
            <a:pPr marL="171447" indent="-171447">
              <a:buFont typeface="Arial" panose="020B0604020202020204" pitchFamily="34" charset="0"/>
              <a:buChar char="•"/>
            </a:pPr>
            <a:r>
              <a:rPr lang="en-US" dirty="0" smtClean="0"/>
              <a:t>But at the end of the day We have to get rid of the silos</a:t>
            </a:r>
          </a:p>
          <a:p>
            <a:pPr marL="171447" indent="-171447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DC8863-943B-4CE4-B3A9-B3F9685AF7CF}" type="slidenum">
              <a:rPr lang="en-US" smtClean="0">
                <a:solidFill>
                  <a:prstClr val="black"/>
                </a:solidFill>
              </a:rPr>
              <a:pPr/>
              <a:t>2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7370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 w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228599"/>
            <a:ext cx="8646785" cy="5764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2" name="Group 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l" t="t" r="r" b="b"/>
              <a:pathLst>
                <a:path w="9144000" h="6858000">
                  <a:moveTo>
                    <a:pt x="822960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0" y="6858000"/>
                  </a:lnTo>
                  <a:lnTo>
                    <a:pt x="0" y="5010912"/>
                  </a:lnTo>
                  <a:lnTo>
                    <a:pt x="7700999" y="5010912"/>
                  </a:lnTo>
                  <a:cubicBezTo>
                    <a:pt x="7992937" y="5010912"/>
                    <a:pt x="8229600" y="4774249"/>
                    <a:pt x="8229600" y="44823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0"/>
              <a:ext cx="8229600" cy="2286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17564" y="5304982"/>
            <a:ext cx="6495760" cy="419142"/>
          </a:xfrm>
        </p:spPr>
        <p:txBody>
          <a:bodyPr/>
          <a:lstStyle>
            <a:lvl1pPr marL="0" indent="0" algn="l">
              <a:buNone/>
              <a:defRPr sz="26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add title 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 userDrawn="1">
            <p:ph sz="quarter" idx="10" hasCustomPrompt="1"/>
          </p:nvPr>
        </p:nvSpPr>
        <p:spPr>
          <a:xfrm>
            <a:off x="817562" y="5661563"/>
            <a:ext cx="2936067" cy="331560"/>
          </a:xfrm>
        </p:spPr>
        <p:txBody>
          <a:bodyPr anchor="t"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add Presenter/Date</a:t>
            </a:r>
          </a:p>
        </p:txBody>
      </p:sp>
      <p:pic>
        <p:nvPicPr>
          <p:cNvPr id="12" name="Picture 11" descr="Actavis_tm_c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0194" y="5896022"/>
            <a:ext cx="1499616" cy="743289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17562" y="6400142"/>
            <a:ext cx="602561" cy="365125"/>
          </a:xfrm>
        </p:spPr>
        <p:txBody>
          <a:bodyPr/>
          <a:lstStyle/>
          <a:p>
            <a:fld id="{0BA888D0-236D-7F44-9EFD-0D4819FAD3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9090573"/>
      </p:ext>
    </p:extLst>
  </p:cSld>
  <p:clrMapOvr>
    <a:masterClrMapping/>
  </p:clrMapOvr>
  <p:transition spd="slow"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Slide w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5400000">
            <a:off x="1250950" y="-1250951"/>
            <a:ext cx="5727700" cy="822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" name="Group 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l" t="t" r="r" b="b"/>
              <a:pathLst>
                <a:path w="9144000" h="6858000">
                  <a:moveTo>
                    <a:pt x="822960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0" y="6858000"/>
                  </a:lnTo>
                  <a:lnTo>
                    <a:pt x="0" y="5010912"/>
                  </a:lnTo>
                  <a:lnTo>
                    <a:pt x="7700999" y="5010912"/>
                  </a:lnTo>
                  <a:cubicBezTo>
                    <a:pt x="7992937" y="5010912"/>
                    <a:pt x="8229600" y="4774249"/>
                    <a:pt x="8229600" y="44823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20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0"/>
              <a:ext cx="8229600" cy="2286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 descr="Actavis_tm_c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0194" y="5896022"/>
            <a:ext cx="1499616" cy="743289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17562" y="6400142"/>
            <a:ext cx="602561" cy="365125"/>
          </a:xfrm>
        </p:spPr>
        <p:txBody>
          <a:bodyPr/>
          <a:lstStyle/>
          <a:p>
            <a:fld id="{0BA888D0-236D-7F44-9EFD-0D4819FAD38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7564" y="5304982"/>
            <a:ext cx="6495760" cy="419142"/>
          </a:xfrm>
        </p:spPr>
        <p:txBody>
          <a:bodyPr/>
          <a:lstStyle>
            <a:lvl1pPr marL="0" indent="0" algn="l">
              <a:buNone/>
              <a:defRPr sz="26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add title </a:t>
            </a:r>
            <a:endParaRPr lang="en-US" dirty="0"/>
          </a:p>
        </p:txBody>
      </p:sp>
      <p:sp>
        <p:nvSpPr>
          <p:cNvPr id="13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817562" y="5661563"/>
            <a:ext cx="2936067" cy="331560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 dirty="0" smtClean="0"/>
              <a:t>Click to add Presenter/Date</a:t>
            </a:r>
          </a:p>
        </p:txBody>
      </p:sp>
    </p:spTree>
    <p:extLst>
      <p:ext uri="{BB962C8B-B14F-4D97-AF65-F5344CB8AC3E}">
        <p14:creationId xmlns:p14="http://schemas.microsoft.com/office/powerpoint/2010/main" val="233419368"/>
      </p:ext>
    </p:extLst>
  </p:cSld>
  <p:clrMapOvr>
    <a:masterClrMapping/>
  </p:clrMapOvr>
  <p:transition spd="slow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4659" y="368215"/>
            <a:ext cx="7248665" cy="6768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0" y="6481864"/>
            <a:ext cx="602561" cy="365125"/>
          </a:xfrm>
          <a:prstGeom prst="rect">
            <a:avLst/>
          </a:prstGeom>
        </p:spPr>
        <p:txBody>
          <a:bodyPr anchor="ctr"/>
          <a:lstStyle>
            <a:lvl1pPr algn="ctr">
              <a:defRPr sz="1400"/>
            </a:lvl1pPr>
          </a:lstStyle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393876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c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ctavis_tm_c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21552" y="2711196"/>
            <a:ext cx="2898648" cy="1436721"/>
          </a:xfrm>
          <a:prstGeom prst="rect">
            <a:avLst/>
          </a:prstGeom>
        </p:spPr>
      </p:pic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17562" y="6400142"/>
            <a:ext cx="602561" cy="365125"/>
          </a:xfrm>
        </p:spPr>
        <p:txBody>
          <a:bodyPr/>
          <a:lstStyle/>
          <a:p>
            <a:fld id="{0BA888D0-236D-7F44-9EFD-0D4819FAD38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339781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A1115A8-93C3-4DF6-81AC-35E28EE512E1}" type="datetimeFigureOut">
              <a:rPr lang="en-US" smtClean="0"/>
              <a:pPr/>
              <a:t>4/4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170D34B-9829-40F8-ACCD-7F022AA95E2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78286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pPr lvl="0"/>
            <a:r>
              <a:rPr lang="en-US" dirty="0" smtClean="0"/>
              <a:t>Click to add 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941354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17562" y="1396906"/>
            <a:ext cx="3678237" cy="4699699"/>
          </a:xfrm>
        </p:spPr>
        <p:txBody>
          <a:bodyPr/>
          <a:lstStyle>
            <a:lvl1pPr>
              <a:defRPr sz="1600" baseline="0"/>
            </a:lvl1pPr>
            <a:lvl2pPr>
              <a:defRPr sz="1600"/>
            </a:lvl2pPr>
            <a:lvl3pPr>
              <a:lnSpc>
                <a:spcPct val="100000"/>
              </a:lnSpc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add 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008562" y="1396906"/>
            <a:ext cx="3678237" cy="4699699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add 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357994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w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8229600" cy="5734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up 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l" t="t" r="r" b="b"/>
              <a:pathLst>
                <a:path w="9144000" h="6858000">
                  <a:moveTo>
                    <a:pt x="822960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0" y="6858000"/>
                  </a:lnTo>
                  <a:lnTo>
                    <a:pt x="0" y="5010912"/>
                  </a:lnTo>
                  <a:lnTo>
                    <a:pt x="7700999" y="5010912"/>
                  </a:lnTo>
                  <a:cubicBezTo>
                    <a:pt x="7992937" y="5010912"/>
                    <a:pt x="8229600" y="4774249"/>
                    <a:pt x="8229600" y="44823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20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0"/>
              <a:ext cx="8229600" cy="2286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 descr="Actavis_tm_c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0194" y="5896022"/>
            <a:ext cx="1499616" cy="743289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17562" y="6400142"/>
            <a:ext cx="602561" cy="365125"/>
          </a:xfrm>
        </p:spPr>
        <p:txBody>
          <a:bodyPr/>
          <a:lstStyle/>
          <a:p>
            <a:fld id="{0BA888D0-236D-7F44-9EFD-0D4819FAD38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7564" y="5304982"/>
            <a:ext cx="6495760" cy="419142"/>
          </a:xfrm>
        </p:spPr>
        <p:txBody>
          <a:bodyPr/>
          <a:lstStyle>
            <a:lvl1pPr marL="0" indent="0" algn="l">
              <a:buNone/>
              <a:defRPr sz="26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add title </a:t>
            </a:r>
            <a:endParaRPr lang="en-US" dirty="0"/>
          </a:p>
        </p:txBody>
      </p:sp>
      <p:sp>
        <p:nvSpPr>
          <p:cNvPr id="13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817562" y="5661563"/>
            <a:ext cx="2936067" cy="331560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 dirty="0" smtClean="0"/>
              <a:t>Click to add Presenter/Date</a:t>
            </a:r>
          </a:p>
        </p:txBody>
      </p:sp>
    </p:spTree>
    <p:extLst>
      <p:ext uri="{BB962C8B-B14F-4D97-AF65-F5344CB8AC3E}">
        <p14:creationId xmlns:p14="http://schemas.microsoft.com/office/powerpoint/2010/main" val="413412393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w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creen Shot 2013-12-19 at 4.09.45 PM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28600"/>
            <a:ext cx="9144000" cy="5427631"/>
          </a:xfrm>
          <a:prstGeom prst="rect">
            <a:avLst/>
          </a:prstGeom>
        </p:spPr>
      </p:pic>
      <p:grpSp>
        <p:nvGrpSpPr>
          <p:cNvPr id="2" name="Group 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l" t="t" r="r" b="b"/>
              <a:pathLst>
                <a:path w="9144000" h="6858000">
                  <a:moveTo>
                    <a:pt x="822960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0" y="6858000"/>
                  </a:lnTo>
                  <a:lnTo>
                    <a:pt x="0" y="5010912"/>
                  </a:lnTo>
                  <a:lnTo>
                    <a:pt x="7700999" y="5010912"/>
                  </a:lnTo>
                  <a:cubicBezTo>
                    <a:pt x="7992937" y="5010912"/>
                    <a:pt x="8229600" y="4774249"/>
                    <a:pt x="8229600" y="44823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20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0"/>
              <a:ext cx="8229600" cy="2286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 descr="Actavis_tm_c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0194" y="5896022"/>
            <a:ext cx="1499616" cy="743289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17562" y="6400142"/>
            <a:ext cx="602561" cy="365125"/>
          </a:xfrm>
        </p:spPr>
        <p:txBody>
          <a:bodyPr/>
          <a:lstStyle/>
          <a:p>
            <a:fld id="{0BA888D0-236D-7F44-9EFD-0D4819FAD38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7564" y="5304982"/>
            <a:ext cx="6495760" cy="419142"/>
          </a:xfrm>
        </p:spPr>
        <p:txBody>
          <a:bodyPr/>
          <a:lstStyle>
            <a:lvl1pPr marL="0" indent="0" algn="l">
              <a:buNone/>
              <a:defRPr sz="26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add title </a:t>
            </a:r>
            <a:endParaRPr lang="en-US" dirty="0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817562" y="5661563"/>
            <a:ext cx="2936067" cy="331560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 dirty="0" smtClean="0"/>
              <a:t>Click to add Presenter/Date</a:t>
            </a:r>
          </a:p>
        </p:txBody>
      </p:sp>
    </p:spTree>
    <p:extLst>
      <p:ext uri="{BB962C8B-B14F-4D97-AF65-F5344CB8AC3E}">
        <p14:creationId xmlns:p14="http://schemas.microsoft.com/office/powerpoint/2010/main" val="2003375026"/>
      </p:ext>
    </p:extLst>
  </p:cSld>
  <p:clrMapOvr>
    <a:masterClrMapping/>
  </p:clrMapOvr>
  <p:transition spd="slow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 w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2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 bwMode="auto">
          <a:xfrm>
            <a:off x="1" y="0"/>
            <a:ext cx="8267700" cy="5067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7" name="Group 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l" t="t" r="r" b="b"/>
              <a:pathLst>
                <a:path w="9144000" h="6858000">
                  <a:moveTo>
                    <a:pt x="822960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0" y="6858000"/>
                  </a:lnTo>
                  <a:lnTo>
                    <a:pt x="0" y="5010912"/>
                  </a:lnTo>
                  <a:lnTo>
                    <a:pt x="7700999" y="5010912"/>
                  </a:lnTo>
                  <a:cubicBezTo>
                    <a:pt x="7992937" y="5010912"/>
                    <a:pt x="8229600" y="4774249"/>
                    <a:pt x="8229600" y="44823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20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0"/>
              <a:ext cx="8229600" cy="2286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 descr="Actavis_tm_c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0194" y="5896022"/>
            <a:ext cx="1499616" cy="743289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17562" y="6400142"/>
            <a:ext cx="602561" cy="365125"/>
          </a:xfrm>
        </p:spPr>
        <p:txBody>
          <a:bodyPr/>
          <a:lstStyle/>
          <a:p>
            <a:fld id="{0BA888D0-236D-7F44-9EFD-0D4819FAD38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7564" y="5304982"/>
            <a:ext cx="6495760" cy="419142"/>
          </a:xfrm>
        </p:spPr>
        <p:txBody>
          <a:bodyPr/>
          <a:lstStyle>
            <a:lvl1pPr marL="0" indent="0" algn="l">
              <a:buNone/>
              <a:defRPr sz="26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add title </a:t>
            </a:r>
            <a:endParaRPr lang="en-US" dirty="0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817562" y="5661563"/>
            <a:ext cx="2936067" cy="331560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 dirty="0" smtClean="0"/>
              <a:t>Click to add Presenter/Date</a:t>
            </a:r>
          </a:p>
        </p:txBody>
      </p:sp>
    </p:spTree>
    <p:extLst>
      <p:ext uri="{BB962C8B-B14F-4D97-AF65-F5344CB8AC3E}">
        <p14:creationId xmlns:p14="http://schemas.microsoft.com/office/powerpoint/2010/main" val="774701529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Slide w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creen Shot 2013-12-19 at 2.57.24 PM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6200"/>
            <a:ext cx="8609810" cy="6109230"/>
          </a:xfrm>
          <a:prstGeom prst="rect">
            <a:avLst/>
          </a:prstGeom>
        </p:spPr>
      </p:pic>
      <p:grpSp>
        <p:nvGrpSpPr>
          <p:cNvPr id="2" name="Group 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l" t="t" r="r" b="b"/>
              <a:pathLst>
                <a:path w="9144000" h="6858000">
                  <a:moveTo>
                    <a:pt x="822960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0" y="6858000"/>
                  </a:lnTo>
                  <a:lnTo>
                    <a:pt x="0" y="5010912"/>
                  </a:lnTo>
                  <a:lnTo>
                    <a:pt x="7700999" y="5010912"/>
                  </a:lnTo>
                  <a:cubicBezTo>
                    <a:pt x="7992937" y="5010912"/>
                    <a:pt x="8229600" y="4774249"/>
                    <a:pt x="8229600" y="44823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20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0"/>
              <a:ext cx="8229600" cy="2286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 descr="Actavis_tm_c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0194" y="5896022"/>
            <a:ext cx="1499616" cy="743289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17562" y="6400142"/>
            <a:ext cx="602561" cy="365125"/>
          </a:xfrm>
        </p:spPr>
        <p:txBody>
          <a:bodyPr/>
          <a:lstStyle/>
          <a:p>
            <a:fld id="{0BA888D0-236D-7F44-9EFD-0D4819FAD38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7564" y="5304982"/>
            <a:ext cx="6495760" cy="419142"/>
          </a:xfrm>
        </p:spPr>
        <p:txBody>
          <a:bodyPr/>
          <a:lstStyle>
            <a:lvl1pPr marL="0" indent="0" algn="l">
              <a:buNone/>
              <a:defRPr sz="26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add title </a:t>
            </a:r>
            <a:endParaRPr lang="en-US" dirty="0"/>
          </a:p>
        </p:txBody>
      </p:sp>
      <p:sp>
        <p:nvSpPr>
          <p:cNvPr id="13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817562" y="5661563"/>
            <a:ext cx="2936067" cy="331560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 dirty="0" smtClean="0"/>
              <a:t>Click to add Presenter/Date</a:t>
            </a:r>
          </a:p>
        </p:txBody>
      </p:sp>
    </p:spTree>
    <p:extLst>
      <p:ext uri="{BB962C8B-B14F-4D97-AF65-F5344CB8AC3E}">
        <p14:creationId xmlns:p14="http://schemas.microsoft.com/office/powerpoint/2010/main" val="2921249677"/>
      </p:ext>
    </p:extLst>
  </p:cSld>
  <p:clrMapOvr>
    <a:masterClrMapping/>
  </p:clrMapOvr>
  <p:transition spd="slow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Slide w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creen Shot 2013-12-19 at 12.54.04 PM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429572"/>
          </a:xfrm>
          <a:prstGeom prst="rect">
            <a:avLst/>
          </a:prstGeom>
        </p:spPr>
      </p:pic>
      <p:grpSp>
        <p:nvGrpSpPr>
          <p:cNvPr id="2" name="Group 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l" t="t" r="r" b="b"/>
              <a:pathLst>
                <a:path w="9144000" h="6858000">
                  <a:moveTo>
                    <a:pt x="822960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0" y="6858000"/>
                  </a:lnTo>
                  <a:lnTo>
                    <a:pt x="0" y="5010912"/>
                  </a:lnTo>
                  <a:lnTo>
                    <a:pt x="7700999" y="5010912"/>
                  </a:lnTo>
                  <a:cubicBezTo>
                    <a:pt x="7992937" y="5010912"/>
                    <a:pt x="8229600" y="4774249"/>
                    <a:pt x="8229600" y="44823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20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0"/>
              <a:ext cx="8229600" cy="2286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 descr="Actavis_tm_c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0194" y="5896022"/>
            <a:ext cx="1499616" cy="743289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17562" y="6400142"/>
            <a:ext cx="602561" cy="365125"/>
          </a:xfrm>
        </p:spPr>
        <p:txBody>
          <a:bodyPr/>
          <a:lstStyle/>
          <a:p>
            <a:fld id="{0BA888D0-236D-7F44-9EFD-0D4819FAD38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7564" y="5304982"/>
            <a:ext cx="6495760" cy="419142"/>
          </a:xfrm>
        </p:spPr>
        <p:txBody>
          <a:bodyPr/>
          <a:lstStyle>
            <a:lvl1pPr marL="0" indent="0" algn="l">
              <a:buNone/>
              <a:defRPr sz="26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add title </a:t>
            </a:r>
            <a:endParaRPr lang="en-US" dirty="0"/>
          </a:p>
        </p:txBody>
      </p:sp>
      <p:sp>
        <p:nvSpPr>
          <p:cNvPr id="13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817562" y="5661563"/>
            <a:ext cx="2936067" cy="331560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 dirty="0" smtClean="0"/>
              <a:t>Click to add Presenter/Date</a:t>
            </a:r>
          </a:p>
        </p:txBody>
      </p:sp>
    </p:spTree>
    <p:extLst>
      <p:ext uri="{BB962C8B-B14F-4D97-AF65-F5344CB8AC3E}">
        <p14:creationId xmlns:p14="http://schemas.microsoft.com/office/powerpoint/2010/main" val="982880114"/>
      </p:ext>
    </p:extLst>
  </p:cSld>
  <p:clrMapOvr>
    <a:masterClrMapping/>
  </p:clrMapOvr>
  <p:transition spd="slow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 Slide w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Larne-Northern Ireland-WC13-028-R&amp;D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525"/>
            <a:ext cx="9144000" cy="6172200"/>
          </a:xfrm>
          <a:prstGeom prst="rect">
            <a:avLst/>
          </a:prstGeom>
        </p:spPr>
      </p:pic>
      <p:grpSp>
        <p:nvGrpSpPr>
          <p:cNvPr id="2" name="Group 6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sp>
          <p:nvSpPr>
            <p:cNvPr id="6" name="Rectangle 5"/>
            <p:cNvSpPr/>
            <p:nvPr userDrawn="1"/>
          </p:nvSpPr>
          <p:spPr>
            <a:xfrm>
              <a:off x="0" y="0"/>
              <a:ext cx="9144000" cy="6858000"/>
            </a:xfrm>
            <a:custGeom>
              <a:avLst/>
              <a:gdLst/>
              <a:ahLst/>
              <a:cxnLst/>
              <a:rect l="l" t="t" r="r" b="b"/>
              <a:pathLst>
                <a:path w="9144000" h="6858000">
                  <a:moveTo>
                    <a:pt x="822960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0" y="6858000"/>
                  </a:lnTo>
                  <a:lnTo>
                    <a:pt x="0" y="5010912"/>
                  </a:lnTo>
                  <a:lnTo>
                    <a:pt x="7700999" y="5010912"/>
                  </a:lnTo>
                  <a:cubicBezTo>
                    <a:pt x="7992937" y="5010912"/>
                    <a:pt x="8229600" y="4774249"/>
                    <a:pt x="8229600" y="44823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200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0"/>
              <a:ext cx="8229600" cy="2286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2" name="Picture 11" descr="Actavis_tm_c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0194" y="5896022"/>
            <a:ext cx="1499616" cy="743289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17562" y="6400142"/>
            <a:ext cx="602561" cy="365125"/>
          </a:xfrm>
        </p:spPr>
        <p:txBody>
          <a:bodyPr/>
          <a:lstStyle/>
          <a:p>
            <a:fld id="{0BA888D0-236D-7F44-9EFD-0D4819FAD38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7564" y="5304982"/>
            <a:ext cx="6495760" cy="419142"/>
          </a:xfrm>
        </p:spPr>
        <p:txBody>
          <a:bodyPr/>
          <a:lstStyle>
            <a:lvl1pPr marL="0" indent="0" algn="l">
              <a:buNone/>
              <a:defRPr sz="260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add title </a:t>
            </a:r>
            <a:endParaRPr lang="en-US" dirty="0"/>
          </a:p>
        </p:txBody>
      </p:sp>
      <p:sp>
        <p:nvSpPr>
          <p:cNvPr id="13" name="Content Placeholder 10"/>
          <p:cNvSpPr>
            <a:spLocks noGrp="1"/>
          </p:cNvSpPr>
          <p:nvPr>
            <p:ph sz="quarter" idx="10" hasCustomPrompt="1"/>
          </p:nvPr>
        </p:nvSpPr>
        <p:spPr>
          <a:xfrm>
            <a:off x="817562" y="5661563"/>
            <a:ext cx="2936067" cy="331560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 dirty="0" smtClean="0"/>
              <a:t>Click to add Presenter/Date</a:t>
            </a:r>
          </a:p>
        </p:txBody>
      </p:sp>
    </p:spTree>
    <p:extLst>
      <p:ext uri="{BB962C8B-B14F-4D97-AF65-F5344CB8AC3E}">
        <p14:creationId xmlns:p14="http://schemas.microsoft.com/office/powerpoint/2010/main" val="362439800"/>
      </p:ext>
    </p:extLst>
  </p:cSld>
  <p:clrMapOvr>
    <a:masterClrMapping/>
  </p:clrMapOvr>
  <p:transition spd="slow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17562" y="781984"/>
            <a:ext cx="7869237" cy="531749"/>
          </a:xfrm>
          <a:prstGeom prst="rect">
            <a:avLst/>
          </a:prstGeom>
        </p:spPr>
        <p:txBody>
          <a:bodyPr vert="horz" lIns="0" tIns="45720" rIns="0" bIns="45720" rtlCol="0" anchor="b" anchorCtr="0">
            <a:normAutofit/>
          </a:bodyPr>
          <a:lstStyle/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17562" y="1395059"/>
            <a:ext cx="7869237" cy="4699825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US" dirty="0" smtClean="0"/>
              <a:t>Click to add 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7562" y="6400142"/>
            <a:ext cx="602561" cy="36512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l">
              <a:lnSpc>
                <a:spcPct val="100000"/>
              </a:lnSpc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 defTabSz="457200"/>
              <a:t>‹#›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2286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lnSpc>
                <a:spcPct val="100000"/>
              </a:lnSpc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" name="Picture 3" descr="Actavis_tm_c.jpg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1066" y="6242198"/>
            <a:ext cx="813816" cy="403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473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63" r:id="rId2"/>
    <p:sldLayoutId id="2147483666" r:id="rId3"/>
    <p:sldLayoutId id="2147483672" r:id="rId4"/>
    <p:sldLayoutId id="2147483673" r:id="rId5"/>
    <p:sldLayoutId id="2147483674" r:id="rId6"/>
    <p:sldLayoutId id="2147483679" r:id="rId7"/>
    <p:sldLayoutId id="2147483680" r:id="rId8"/>
    <p:sldLayoutId id="2147483681" r:id="rId9"/>
    <p:sldLayoutId id="2147483682" r:id="rId10"/>
    <p:sldLayoutId id="2147483694" r:id="rId11"/>
    <p:sldLayoutId id="2147483698" r:id="rId12"/>
    <p:sldLayoutId id="2147483699" r:id="rId13"/>
  </p:sldLayoutIdLst>
  <p:transition spd="slow"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buFont typeface="Arial"/>
        <a:buNone/>
        <a:defRPr sz="1600" kern="1200" baseline="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1pPr>
      <a:lvl2pPr marL="231775" indent="-231775" algn="l" defTabSz="457200" rtl="0" eaLnBrk="1" latinLnBrk="0" hangingPunct="1">
        <a:lnSpc>
          <a:spcPct val="100000"/>
        </a:lnSpc>
        <a:spcBef>
          <a:spcPts val="0"/>
        </a:spcBef>
        <a:buFont typeface="Arial"/>
        <a:buChar char="•"/>
        <a:defRPr sz="16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2pPr>
      <a:lvl3pPr marL="457200" indent="-225425" algn="l" defTabSz="457200" rtl="0" eaLnBrk="1" latinLnBrk="0" hangingPunct="1">
        <a:lnSpc>
          <a:spcPct val="100000"/>
        </a:lnSpc>
        <a:spcBef>
          <a:spcPts val="0"/>
        </a:spcBef>
        <a:buFont typeface="Lucida Grande"/>
        <a:buChar char="-"/>
        <a:defRPr sz="16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3pPr>
      <a:lvl4pPr marL="687388" indent="-230188" algn="l" defTabSz="457200" rtl="0" eaLnBrk="1" latinLnBrk="0" hangingPunct="1">
        <a:lnSpc>
          <a:spcPct val="100000"/>
        </a:lnSpc>
        <a:spcBef>
          <a:spcPts val="0"/>
        </a:spcBef>
        <a:buFont typeface="Arial"/>
        <a:buChar char="•"/>
        <a:defRPr sz="16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4pPr>
      <a:lvl5pPr marL="912813" indent="-225425" algn="l" defTabSz="457200" rtl="0" eaLnBrk="1" latinLnBrk="0" hangingPunct="1">
        <a:lnSpc>
          <a:spcPct val="100000"/>
        </a:lnSpc>
        <a:spcBef>
          <a:spcPts val="0"/>
        </a:spcBef>
        <a:buFont typeface="Lucida Grande"/>
        <a:buChar char="-"/>
        <a:defRPr sz="1600" kern="1200">
          <a:solidFill>
            <a:schemeClr val="tx1">
              <a:lumMod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3" Type="http://schemas.openxmlformats.org/officeDocument/2006/relationships/tags" Target="../tags/tag2.xml"/><Relationship Id="rId21" Type="http://schemas.openxmlformats.org/officeDocument/2006/relationships/oleObject" Target="../embeddings/oleObject2.bin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image" Target="../media/image33.emf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oleObject" Target="../embeddings/oleObject3.bin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image" Target="../media/image32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34.png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35.emf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tags" Target="../tags/tag34.xml"/><Relationship Id="rId18" Type="http://schemas.openxmlformats.org/officeDocument/2006/relationships/tags" Target="../tags/tag39.xml"/><Relationship Id="rId26" Type="http://schemas.openxmlformats.org/officeDocument/2006/relationships/tags" Target="../tags/tag47.xml"/><Relationship Id="rId39" Type="http://schemas.openxmlformats.org/officeDocument/2006/relationships/oleObject" Target="../embeddings/oleObject6.bin"/><Relationship Id="rId3" Type="http://schemas.openxmlformats.org/officeDocument/2006/relationships/tags" Target="../tags/tag24.xml"/><Relationship Id="rId21" Type="http://schemas.openxmlformats.org/officeDocument/2006/relationships/tags" Target="../tags/tag42.xml"/><Relationship Id="rId34" Type="http://schemas.openxmlformats.org/officeDocument/2006/relationships/tags" Target="../tags/tag55.xml"/><Relationship Id="rId42" Type="http://schemas.openxmlformats.org/officeDocument/2006/relationships/image" Target="../media/image38.emf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17" Type="http://schemas.openxmlformats.org/officeDocument/2006/relationships/tags" Target="../tags/tag38.xml"/><Relationship Id="rId25" Type="http://schemas.openxmlformats.org/officeDocument/2006/relationships/tags" Target="../tags/tag46.xml"/><Relationship Id="rId33" Type="http://schemas.openxmlformats.org/officeDocument/2006/relationships/tags" Target="../tags/tag54.xml"/><Relationship Id="rId38" Type="http://schemas.openxmlformats.org/officeDocument/2006/relationships/notesSlide" Target="../notesSlides/notesSlide1.xml"/><Relationship Id="rId2" Type="http://schemas.openxmlformats.org/officeDocument/2006/relationships/tags" Target="../tags/tag23.xml"/><Relationship Id="rId16" Type="http://schemas.openxmlformats.org/officeDocument/2006/relationships/tags" Target="../tags/tag37.xml"/><Relationship Id="rId20" Type="http://schemas.openxmlformats.org/officeDocument/2006/relationships/tags" Target="../tags/tag41.xml"/><Relationship Id="rId29" Type="http://schemas.openxmlformats.org/officeDocument/2006/relationships/tags" Target="../tags/tag50.xml"/><Relationship Id="rId41" Type="http://schemas.openxmlformats.org/officeDocument/2006/relationships/oleObject" Target="../embeddings/oleObject7.bin"/><Relationship Id="rId1" Type="http://schemas.openxmlformats.org/officeDocument/2006/relationships/vmlDrawing" Target="../drawings/vmlDrawing5.v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24" Type="http://schemas.openxmlformats.org/officeDocument/2006/relationships/tags" Target="../tags/tag45.xml"/><Relationship Id="rId32" Type="http://schemas.openxmlformats.org/officeDocument/2006/relationships/tags" Target="../tags/tag53.xml"/><Relationship Id="rId37" Type="http://schemas.openxmlformats.org/officeDocument/2006/relationships/slideLayout" Target="../slideLayouts/slideLayout11.xml"/><Relationship Id="rId40" Type="http://schemas.openxmlformats.org/officeDocument/2006/relationships/image" Target="../media/image37.emf"/><Relationship Id="rId5" Type="http://schemas.openxmlformats.org/officeDocument/2006/relationships/tags" Target="../tags/tag26.xml"/><Relationship Id="rId15" Type="http://schemas.openxmlformats.org/officeDocument/2006/relationships/tags" Target="../tags/tag36.xml"/><Relationship Id="rId23" Type="http://schemas.openxmlformats.org/officeDocument/2006/relationships/tags" Target="../tags/tag44.xml"/><Relationship Id="rId28" Type="http://schemas.openxmlformats.org/officeDocument/2006/relationships/tags" Target="../tags/tag49.xml"/><Relationship Id="rId36" Type="http://schemas.openxmlformats.org/officeDocument/2006/relationships/tags" Target="../tags/tag57.xml"/><Relationship Id="rId10" Type="http://schemas.openxmlformats.org/officeDocument/2006/relationships/tags" Target="../tags/tag31.xml"/><Relationship Id="rId19" Type="http://schemas.openxmlformats.org/officeDocument/2006/relationships/tags" Target="../tags/tag40.xml"/><Relationship Id="rId31" Type="http://schemas.openxmlformats.org/officeDocument/2006/relationships/tags" Target="../tags/tag52.xml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tags" Target="../tags/tag35.xml"/><Relationship Id="rId22" Type="http://schemas.openxmlformats.org/officeDocument/2006/relationships/tags" Target="../tags/tag43.xml"/><Relationship Id="rId27" Type="http://schemas.openxmlformats.org/officeDocument/2006/relationships/tags" Target="../tags/tag48.xml"/><Relationship Id="rId30" Type="http://schemas.openxmlformats.org/officeDocument/2006/relationships/tags" Target="../tags/tag51.xml"/><Relationship Id="rId35" Type="http://schemas.openxmlformats.org/officeDocument/2006/relationships/tags" Target="../tags/tag5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tags" Target="../tags/tag69.xml"/><Relationship Id="rId18" Type="http://schemas.openxmlformats.org/officeDocument/2006/relationships/tags" Target="../tags/tag74.xml"/><Relationship Id="rId26" Type="http://schemas.openxmlformats.org/officeDocument/2006/relationships/tags" Target="../tags/tag82.xml"/><Relationship Id="rId39" Type="http://schemas.openxmlformats.org/officeDocument/2006/relationships/oleObject" Target="../embeddings/oleObject10.bin"/><Relationship Id="rId3" Type="http://schemas.openxmlformats.org/officeDocument/2006/relationships/tags" Target="../tags/tag59.xml"/><Relationship Id="rId21" Type="http://schemas.openxmlformats.org/officeDocument/2006/relationships/tags" Target="../tags/tag77.xml"/><Relationship Id="rId34" Type="http://schemas.openxmlformats.org/officeDocument/2006/relationships/slideLayout" Target="../slideLayouts/slideLayout2.xml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17" Type="http://schemas.openxmlformats.org/officeDocument/2006/relationships/tags" Target="../tags/tag73.xml"/><Relationship Id="rId25" Type="http://schemas.openxmlformats.org/officeDocument/2006/relationships/tags" Target="../tags/tag81.xml"/><Relationship Id="rId33" Type="http://schemas.openxmlformats.org/officeDocument/2006/relationships/tags" Target="../tags/tag89.xml"/><Relationship Id="rId38" Type="http://schemas.openxmlformats.org/officeDocument/2006/relationships/image" Target="../media/image39.emf"/><Relationship Id="rId2" Type="http://schemas.openxmlformats.org/officeDocument/2006/relationships/tags" Target="../tags/tag58.xml"/><Relationship Id="rId16" Type="http://schemas.openxmlformats.org/officeDocument/2006/relationships/tags" Target="../tags/tag72.xml"/><Relationship Id="rId20" Type="http://schemas.openxmlformats.org/officeDocument/2006/relationships/tags" Target="../tags/tag76.xml"/><Relationship Id="rId29" Type="http://schemas.openxmlformats.org/officeDocument/2006/relationships/tags" Target="../tags/tag85.xml"/><Relationship Id="rId1" Type="http://schemas.openxmlformats.org/officeDocument/2006/relationships/vmlDrawing" Target="../drawings/vmlDrawing6.v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24" Type="http://schemas.openxmlformats.org/officeDocument/2006/relationships/tags" Target="../tags/tag80.xml"/><Relationship Id="rId32" Type="http://schemas.openxmlformats.org/officeDocument/2006/relationships/tags" Target="../tags/tag88.xml"/><Relationship Id="rId37" Type="http://schemas.openxmlformats.org/officeDocument/2006/relationships/oleObject" Target="../embeddings/oleObject9.bin"/><Relationship Id="rId40" Type="http://schemas.openxmlformats.org/officeDocument/2006/relationships/image" Target="../media/image40.emf"/><Relationship Id="rId5" Type="http://schemas.openxmlformats.org/officeDocument/2006/relationships/tags" Target="../tags/tag61.xml"/><Relationship Id="rId15" Type="http://schemas.openxmlformats.org/officeDocument/2006/relationships/tags" Target="../tags/tag71.xml"/><Relationship Id="rId23" Type="http://schemas.openxmlformats.org/officeDocument/2006/relationships/tags" Target="../tags/tag79.xml"/><Relationship Id="rId28" Type="http://schemas.openxmlformats.org/officeDocument/2006/relationships/tags" Target="../tags/tag84.xml"/><Relationship Id="rId36" Type="http://schemas.openxmlformats.org/officeDocument/2006/relationships/oleObject" Target="../embeddings/oleObject8.bin"/><Relationship Id="rId10" Type="http://schemas.openxmlformats.org/officeDocument/2006/relationships/tags" Target="../tags/tag66.xml"/><Relationship Id="rId19" Type="http://schemas.openxmlformats.org/officeDocument/2006/relationships/tags" Target="../tags/tag75.xml"/><Relationship Id="rId31" Type="http://schemas.openxmlformats.org/officeDocument/2006/relationships/tags" Target="../tags/tag87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tags" Target="../tags/tag70.xml"/><Relationship Id="rId22" Type="http://schemas.openxmlformats.org/officeDocument/2006/relationships/tags" Target="../tags/tag78.xml"/><Relationship Id="rId27" Type="http://schemas.openxmlformats.org/officeDocument/2006/relationships/tags" Target="../tags/tag83.xml"/><Relationship Id="rId30" Type="http://schemas.openxmlformats.org/officeDocument/2006/relationships/tags" Target="../tags/tag86.xml"/><Relationship Id="rId35" Type="http://schemas.openxmlformats.org/officeDocument/2006/relationships/notesSlide" Target="../notesSlides/notesSlide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3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emf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13.gif"/><Relationship Id="rId7" Type="http://schemas.openxmlformats.org/officeDocument/2006/relationships/image" Target="../media/image17.jpeg"/><Relationship Id="rId12" Type="http://schemas.openxmlformats.org/officeDocument/2006/relationships/hyperlink" Target="http://1.bp.blogspot.com/_AcBUSVxs82w/TTCGDeXVRcI/AAAAAAAAkdk/q5JabQNuRQg/s1600/Costco_Wholesale_Logo.jpg" TargetMode="Externa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jpeg"/><Relationship Id="rId11" Type="http://schemas.openxmlformats.org/officeDocument/2006/relationships/image" Target="../media/image21.gif"/><Relationship Id="rId5" Type="http://schemas.openxmlformats.org/officeDocument/2006/relationships/image" Target="../media/image15.jpeg"/><Relationship Id="rId10" Type="http://schemas.openxmlformats.org/officeDocument/2006/relationships/image" Target="../media/image20.jpeg"/><Relationship Id="rId4" Type="http://schemas.openxmlformats.org/officeDocument/2006/relationships/image" Target="../media/image14.jpeg"/><Relationship Id="rId9" Type="http://schemas.openxmlformats.org/officeDocument/2006/relationships/image" Target="../media/image19.gi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oleObject" Target="../embeddings/oleObject1.bin"/><Relationship Id="rId18" Type="http://schemas.openxmlformats.org/officeDocument/2006/relationships/image" Target="../media/image25.gif"/><Relationship Id="rId3" Type="http://schemas.openxmlformats.org/officeDocument/2006/relationships/diagramData" Target="../diagrams/data1.xml"/><Relationship Id="rId21" Type="http://schemas.openxmlformats.org/officeDocument/2006/relationships/image" Target="../media/image27.jpeg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openxmlformats.org/officeDocument/2006/relationships/image" Target="../media/image24.jpeg"/><Relationship Id="rId25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3.gif"/><Relationship Id="rId20" Type="http://schemas.openxmlformats.org/officeDocument/2006/relationships/image" Target="../media/image26.png"/><Relationship Id="rId1" Type="http://schemas.openxmlformats.org/officeDocument/2006/relationships/vmlDrawing" Target="../drawings/vmlDrawing1.v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24" Type="http://schemas.openxmlformats.org/officeDocument/2006/relationships/image" Target="../media/image30.jpeg"/><Relationship Id="rId5" Type="http://schemas.openxmlformats.org/officeDocument/2006/relationships/diagramQuickStyle" Target="../diagrams/quickStyle1.xml"/><Relationship Id="rId15" Type="http://schemas.openxmlformats.org/officeDocument/2006/relationships/hyperlink" Target="http://www.mylan.com/" TargetMode="External"/><Relationship Id="rId23" Type="http://schemas.openxmlformats.org/officeDocument/2006/relationships/image" Target="../media/image29.gif"/><Relationship Id="rId10" Type="http://schemas.openxmlformats.org/officeDocument/2006/relationships/diagramQuickStyle" Target="../diagrams/quickStyle2.xml"/><Relationship Id="rId19" Type="http://schemas.openxmlformats.org/officeDocument/2006/relationships/hyperlink" Target="http://www.lupinpharmaceuticals.com/index.htm" TargetMode="Externa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image" Target="../media/image22.png"/><Relationship Id="rId22" Type="http://schemas.openxmlformats.org/officeDocument/2006/relationships/image" Target="../media/image28.gi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14.jpeg"/><Relationship Id="rId7" Type="http://schemas.openxmlformats.org/officeDocument/2006/relationships/image" Target="../media/image21.gif"/><Relationship Id="rId2" Type="http://schemas.openxmlformats.org/officeDocument/2006/relationships/image" Target="../media/image13.gi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jpeg"/><Relationship Id="rId11" Type="http://schemas.openxmlformats.org/officeDocument/2006/relationships/image" Target="../media/image20.jpeg"/><Relationship Id="rId5" Type="http://schemas.openxmlformats.org/officeDocument/2006/relationships/image" Target="../media/image12.gif"/><Relationship Id="rId10" Type="http://schemas.openxmlformats.org/officeDocument/2006/relationships/image" Target="../media/image19.gif"/><Relationship Id="rId4" Type="http://schemas.openxmlformats.org/officeDocument/2006/relationships/image" Target="../media/image15.jpeg"/><Relationship Id="rId9" Type="http://schemas.openxmlformats.org/officeDocument/2006/relationships/image" Target="../media/image18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2800" dirty="0" smtClean="0"/>
              <a:t>Actavis</a:t>
            </a:r>
            <a:r>
              <a:rPr lang="en-US" sz="2800" dirty="0"/>
              <a:t> </a:t>
            </a:r>
            <a:r>
              <a:rPr lang="en-US" sz="2800" dirty="0" smtClean="0"/>
              <a:t>– A Global Leader in Specialty Pharmaceuticals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57948730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256" y="3344880"/>
            <a:ext cx="7869237" cy="531749"/>
          </a:xfrm>
        </p:spPr>
        <p:txBody>
          <a:bodyPr/>
          <a:lstStyle/>
          <a:p>
            <a:pPr algn="ctr"/>
            <a:r>
              <a:rPr lang="en-US" dirty="0" smtClean="0"/>
              <a:t>Actavis R&amp;D/BD Updat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10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699829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1522857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82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>
            <p:custDataLst>
              <p:tags r:id="rId3"/>
            </p:custDataLst>
          </p:nvPr>
        </p:nvSpPr>
        <p:spPr bwMode="auto">
          <a:xfrm>
            <a:off x="0" y="2"/>
            <a:ext cx="158750" cy="15875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400">
              <a:latin typeface="Arial"/>
              <a:cs typeface="Arial"/>
              <a:sym typeface="Arial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2648570" y="2392363"/>
            <a:ext cx="4127500" cy="458152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/>
              <a:t>US New Projects Selected 2013</a:t>
            </a:r>
            <a:endParaRPr lang="en-US" sz="1400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We continue to diversify our pipeline into new dosage forms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3197819" y="1457539"/>
            <a:ext cx="289242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000000"/>
                </a:solidFill>
              </a:rPr>
              <a:t>Less than 50% of new projects selected for the US last year were </a:t>
            </a:r>
          </a:p>
          <a:p>
            <a:pPr algn="ctr"/>
            <a:r>
              <a:rPr lang="en-US" sz="1400" dirty="0" smtClean="0">
                <a:solidFill>
                  <a:srgbClr val="000000"/>
                </a:solidFill>
              </a:rPr>
              <a:t>oral solids</a:t>
            </a:r>
          </a:p>
        </p:txBody>
      </p:sp>
      <p:graphicFrame>
        <p:nvGraphicFramePr>
          <p:cNvPr id="48" name="Object 47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09849930"/>
              </p:ext>
            </p:extLst>
          </p:nvPr>
        </p:nvGraphicFramePr>
        <p:xfrm>
          <a:off x="3397870" y="3009900"/>
          <a:ext cx="2794000" cy="2819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83" name="Chart" r:id="rId23" imgW="2790770" imgH="2819271" progId="MSGraph.Chart.8">
                  <p:embed followColorScheme="full"/>
                </p:oleObj>
              </mc:Choice>
              <mc:Fallback>
                <p:oleObj name="Chart" r:id="rId23" imgW="2790770" imgH="2819271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97870" y="3009900"/>
                        <a:ext cx="2794000" cy="28194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Rectangle 52"/>
          <p:cNvSpPr/>
          <p:nvPr>
            <p:custDataLst>
              <p:tags r:id="rId5"/>
            </p:custDataLst>
          </p:nvPr>
        </p:nvSpPr>
        <p:spPr bwMode="auto">
          <a:xfrm>
            <a:off x="2910507" y="3503615"/>
            <a:ext cx="7683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/>
            <a:fld id="{085B2CDB-3B3E-4BF5-8414-730508ED5124}" type="datetime'''Inh''''''''a''''''''''''''l''''''''''a''ti''''''o''''n'''''">
              <a:rPr lang="en-US" sz="1400">
                <a:solidFill>
                  <a:srgbClr val="000000"/>
                </a:solidFill>
                <a:sym typeface="+mn-lt"/>
              </a:rPr>
              <a:pPr algn="r"/>
              <a:t>Inhalation</a:t>
            </a:fld>
            <a:endParaRPr lang="en-US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54" name="Rectangle 53"/>
          <p:cNvSpPr/>
          <p:nvPr>
            <p:custDataLst>
              <p:tags r:id="rId6"/>
            </p:custDataLst>
          </p:nvPr>
        </p:nvSpPr>
        <p:spPr bwMode="auto">
          <a:xfrm>
            <a:off x="3886824" y="2992440"/>
            <a:ext cx="442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/>
            <a:fld id="{BD5A948E-7451-43BC-AD0F-C8B4C0073800}" type="datetime'''''''''''''''''''''''''''''''O''''''''t''''h''e''''''r'''">
              <a:rPr lang="en-US" sz="1400">
                <a:solidFill>
                  <a:srgbClr val="000000"/>
                </a:solidFill>
                <a:sym typeface="+mn-lt"/>
              </a:rPr>
              <a:pPr algn="r"/>
              <a:t>Other</a:t>
            </a:fld>
            <a:endParaRPr lang="en-US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59" name="Rectangle 58"/>
          <p:cNvSpPr/>
          <p:nvPr>
            <p:custDataLst>
              <p:tags r:id="rId7"/>
            </p:custDataLst>
          </p:nvPr>
        </p:nvSpPr>
        <p:spPr bwMode="gray">
          <a:xfrm>
            <a:off x="4176804" y="331470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/>
            <a:fld id="{779BBC55-7825-4058-91F0-934849A26B73}" type="datetime'''''''''1''''''3''''''''%'''''">
              <a:rPr lang="en-US" sz="1400">
                <a:solidFill>
                  <a:schemeClr val="bg1"/>
                </a:solidFill>
                <a:sym typeface="+mn-lt"/>
              </a:rPr>
              <a:pPr algn="ctr"/>
              <a:t>13%</a:t>
            </a:fld>
            <a:endParaRPr lang="en-US" sz="1400">
              <a:solidFill>
                <a:schemeClr val="bg1"/>
              </a:solidFill>
              <a:sym typeface="+mn-lt"/>
            </a:endParaRPr>
          </a:p>
        </p:txBody>
      </p:sp>
      <p:sp>
        <p:nvSpPr>
          <p:cNvPr id="58" name="Rectangle 57"/>
          <p:cNvSpPr/>
          <p:nvPr>
            <p:custDataLst>
              <p:tags r:id="rId8"/>
            </p:custDataLst>
          </p:nvPr>
        </p:nvSpPr>
        <p:spPr bwMode="gray">
          <a:xfrm>
            <a:off x="3746595" y="3700464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/>
            <a:fld id="{A99F3ADC-2515-46BC-BE1F-D362A1D619B7}" type="datetime'''''''5''''''''''''''''''''''''''''''''%'''''">
              <a:rPr lang="en-US" sz="1400">
                <a:solidFill>
                  <a:schemeClr val="bg1"/>
                </a:solidFill>
              </a:rPr>
              <a:pPr algn="ctr"/>
              <a:t>5%</a:t>
            </a:fld>
            <a:endParaRPr lang="en-US" sz="1400">
              <a:solidFill>
                <a:schemeClr val="bg1"/>
              </a:solidFill>
              <a:sym typeface="+mn-lt"/>
            </a:endParaRPr>
          </a:p>
        </p:txBody>
      </p:sp>
      <p:sp>
        <p:nvSpPr>
          <p:cNvPr id="52" name="Rectangle 51"/>
          <p:cNvSpPr/>
          <p:nvPr>
            <p:custDataLst>
              <p:tags r:id="rId9"/>
            </p:custDataLst>
          </p:nvPr>
        </p:nvSpPr>
        <p:spPr bwMode="auto">
          <a:xfrm>
            <a:off x="2891457" y="4271964"/>
            <a:ext cx="57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/>
            <a:fld id="{8F54E38C-CCEE-46C0-A6A7-028DF9D65448}" type="datetime'T''''''''''''''''op''i''''''''''''''''''''ca''''''l'''''''''">
              <a:rPr lang="en-US" sz="1400">
                <a:solidFill>
                  <a:srgbClr val="000000"/>
                </a:solidFill>
              </a:rPr>
              <a:pPr algn="r"/>
              <a:t>Topical</a:t>
            </a:fld>
            <a:endParaRPr lang="en-US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57" name="Rectangle 56"/>
          <p:cNvSpPr/>
          <p:nvPr>
            <p:custDataLst>
              <p:tags r:id="rId10"/>
            </p:custDataLst>
          </p:nvPr>
        </p:nvSpPr>
        <p:spPr bwMode="gray">
          <a:xfrm>
            <a:off x="3525929" y="428784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/>
            <a:fld id="{366B5C46-FFDD-4176-9698-FE99C0341BE9}" type="datetime'''''''''''''''''1''''''''''''''''''3''''%'''''''''''">
              <a:rPr lang="en-US" sz="1400">
                <a:solidFill>
                  <a:schemeClr val="bg1"/>
                </a:solidFill>
              </a:rPr>
              <a:pPr algn="ctr"/>
              <a:t>13%</a:t>
            </a:fld>
            <a:endParaRPr lang="en-US" sz="1400">
              <a:solidFill>
                <a:schemeClr val="bg1"/>
              </a:solidFill>
              <a:sym typeface="+mn-lt"/>
            </a:endParaRPr>
          </a:p>
        </p:txBody>
      </p:sp>
      <p:sp>
        <p:nvSpPr>
          <p:cNvPr id="5" name="Rectangle 4"/>
          <p:cNvSpPr/>
          <p:nvPr>
            <p:custDataLst>
              <p:tags r:id="rId11"/>
            </p:custDataLst>
          </p:nvPr>
        </p:nvSpPr>
        <p:spPr bwMode="auto">
          <a:xfrm>
            <a:off x="3712195" y="5668964"/>
            <a:ext cx="660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/>
            <a:fld id="{A59659F5-3618-48CC-94FA-8B273519FC36}" type="datetime'''In''''''''j''e''''''''''''''''''''''cti''o''n'''''''''''">
              <a:rPr lang="en-US" sz="1400">
                <a:solidFill>
                  <a:schemeClr val="tx1"/>
                </a:solidFill>
              </a:rPr>
              <a:pPr algn="r"/>
              <a:t>Injection</a:t>
            </a:fld>
            <a:endParaRPr lang="en-US" sz="140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7" name="Rectangle 6"/>
          <p:cNvSpPr/>
          <p:nvPr>
            <p:custDataLst>
              <p:tags r:id="rId12"/>
            </p:custDataLst>
          </p:nvPr>
        </p:nvSpPr>
        <p:spPr bwMode="gray">
          <a:xfrm>
            <a:off x="4206966" y="534828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/>
            <a:fld id="{CFFEAF62-18C0-4773-B98F-426654850B54}" type="datetime'''''2''''''''''6''''%'''''''''''''''''''''''''''''''">
              <a:rPr lang="en-US" sz="1400">
                <a:solidFill>
                  <a:schemeClr val="bg1"/>
                </a:solidFill>
                <a:latin typeface="Arial"/>
                <a:sym typeface="Arial"/>
              </a:rPr>
              <a:pPr algn="ctr"/>
              <a:t>26%</a:t>
            </a:fld>
            <a:endParaRPr lang="en-US" sz="140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51" name="Rectangle 50"/>
          <p:cNvSpPr/>
          <p:nvPr>
            <p:custDataLst>
              <p:tags r:id="rId13"/>
            </p:custDataLst>
          </p:nvPr>
        </p:nvSpPr>
        <p:spPr bwMode="auto">
          <a:xfrm>
            <a:off x="5877549" y="5202237"/>
            <a:ext cx="631825" cy="425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fld id="{3F133E35-55BE-4AD3-BECE-668B642447F5}" type="datetime'E''''''''R'' O''''''''r''''''al&#10;''S''''''''''''''''oli''''''d'">
              <a:rPr lang="en-US" sz="1400">
                <a:solidFill>
                  <a:srgbClr val="000000"/>
                </a:solidFill>
              </a:rPr>
              <a:pPr/>
              <a:t>ER Oral
Solid</a:t>
            </a:fld>
            <a:endParaRPr lang="en-US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50" name="Rectangle 49"/>
          <p:cNvSpPr/>
          <p:nvPr>
            <p:custDataLst>
              <p:tags r:id="rId14"/>
            </p:custDataLst>
          </p:nvPr>
        </p:nvSpPr>
        <p:spPr bwMode="auto">
          <a:xfrm>
            <a:off x="5845799" y="3189289"/>
            <a:ext cx="561975" cy="425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fld id="{469C17E1-7E36-4967-A7A6-C21F9FB87829}" type="datetime'''''''IR'' O''r''''a''l''''''''''''&#10;''''''So''''''li''''d'">
              <a:rPr lang="en-US" sz="1400">
                <a:solidFill>
                  <a:srgbClr val="000000"/>
                </a:solidFill>
              </a:rPr>
              <a:pPr/>
              <a:t>IR Oral
Solid</a:t>
            </a:fld>
            <a:endParaRPr lang="en-US" sz="14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9" name="Rectangle 8"/>
          <p:cNvSpPr/>
          <p:nvPr>
            <p:custDataLst>
              <p:tags r:id="rId15"/>
            </p:custDataLst>
          </p:nvPr>
        </p:nvSpPr>
        <p:spPr bwMode="gray">
          <a:xfrm>
            <a:off x="5435691" y="3641727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/>
            <a:fld id="{6E74C626-396F-4D71-92CC-36B1D2BCAECB}" type="datetime'2''''''''''''8''''''''''''''''''''%'''''''''''''''''''''''''''">
              <a:rPr lang="en-US" sz="1400">
                <a:solidFill>
                  <a:schemeClr val="bg1"/>
                </a:solidFill>
                <a:latin typeface="Arial"/>
                <a:sym typeface="Arial"/>
              </a:rPr>
              <a:pPr algn="ctr"/>
              <a:t>28%</a:t>
            </a:fld>
            <a:endParaRPr lang="en-US" sz="140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2648570" y="2851152"/>
            <a:ext cx="4127500" cy="3324283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/>
          </a:p>
        </p:txBody>
      </p:sp>
      <p:sp>
        <p:nvSpPr>
          <p:cNvPr id="11" name="Rectangle 10"/>
          <p:cNvSpPr/>
          <p:nvPr>
            <p:custDataLst>
              <p:tags r:id="rId16"/>
            </p:custDataLst>
          </p:nvPr>
        </p:nvSpPr>
        <p:spPr bwMode="gray">
          <a:xfrm>
            <a:off x="7645400" y="4856164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/>
            <a:fld id="{FDF4EB28-1CB0-4336-A1A7-99A12CC8B740}" type="datetime'''''''''''''''''''''''''''''''6''''''''''7''%'''">
              <a:rPr lang="en-US" sz="1400">
                <a:solidFill>
                  <a:schemeClr val="bg1"/>
                </a:solidFill>
              </a:rPr>
              <a:pPr algn="ctr"/>
              <a:t>67%</a:t>
            </a:fld>
            <a:endParaRPr lang="en-US" sz="140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15" name="Rectangle 14"/>
          <p:cNvSpPr/>
          <p:nvPr>
            <p:custDataLst>
              <p:tags r:id="rId17"/>
            </p:custDataLst>
          </p:nvPr>
        </p:nvSpPr>
        <p:spPr bwMode="gray">
          <a:xfrm>
            <a:off x="5965829" y="3563940"/>
            <a:ext cx="30797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/>
            <a:fld id="{FA29ACF0-EF1D-48E9-9925-C6A6F62424E5}" type="datetime'4''%'''''''''''''''''''''''''''''''''''''''''''''''">
              <a:rPr lang="en-US" sz="1400">
                <a:solidFill>
                  <a:schemeClr val="bg1"/>
                </a:solidFill>
              </a:rPr>
              <a:pPr algn="ctr"/>
              <a:t>4%</a:t>
            </a:fld>
            <a:endParaRPr lang="en-US" sz="140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6" name="Rectangle 5"/>
          <p:cNvSpPr/>
          <p:nvPr>
            <p:custDataLst>
              <p:tags r:id="rId18"/>
            </p:custDataLst>
          </p:nvPr>
        </p:nvSpPr>
        <p:spPr bwMode="gray">
          <a:xfrm>
            <a:off x="5695950" y="401478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/>
            <a:fld id="{AAB6D153-CDE8-428B-A6D1-8EE21EED3722}" type="datetime'''''''''''''''''''''''''''''''''''''''11%'''''">
              <a:rPr lang="en-US" sz="1400">
                <a:solidFill>
                  <a:schemeClr val="bg1"/>
                </a:solidFill>
              </a:rPr>
              <a:pPr algn="ctr"/>
              <a:t>11%</a:t>
            </a:fld>
            <a:endParaRPr lang="en-US" sz="140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8" name="Rectangle 7"/>
          <p:cNvSpPr/>
          <p:nvPr>
            <p:custDataLst>
              <p:tags r:id="rId19"/>
            </p:custDataLst>
          </p:nvPr>
        </p:nvSpPr>
        <p:spPr bwMode="gray">
          <a:xfrm>
            <a:off x="6343650" y="328454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/>
            <a:fld id="{65A8FF8D-1CC5-496C-B160-F203C2090CDB}" type="datetime'''''11''%'''''''''''''''''''''''''''">
              <a:rPr lang="en-US" sz="1400">
                <a:solidFill>
                  <a:schemeClr val="bg1"/>
                </a:solidFill>
              </a:rPr>
              <a:pPr algn="ctr"/>
              <a:t>11%</a:t>
            </a:fld>
            <a:endParaRPr lang="en-US" sz="1400" dirty="0">
              <a:solidFill>
                <a:schemeClr val="bg1"/>
              </a:solidFill>
              <a:latin typeface="Arial"/>
              <a:sym typeface="Arial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15951" y="6564871"/>
            <a:ext cx="542648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/>
              <a:t>Based on # of new products selected for development in 2013, excludes in-licensing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886521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 smtClean="0"/>
              <a:t>Portfolio – The good news!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97173" y="1868633"/>
            <a:ext cx="6857999" cy="4699825"/>
          </a:xfrm>
        </p:spPr>
        <p:txBody>
          <a:bodyPr/>
          <a:lstStyle/>
          <a:p>
            <a:pPr algn="ctr"/>
            <a:r>
              <a:rPr lang="en-US" sz="5400" dirty="0" smtClean="0"/>
              <a:t>There is no shortage of new product opportunities </a:t>
            </a:r>
            <a:endParaRPr lang="en-US" sz="5400" dirty="0"/>
          </a:p>
        </p:txBody>
      </p:sp>
    </p:spTree>
    <p:extLst>
      <p:ext uri="{BB962C8B-B14F-4D97-AF65-F5344CB8AC3E}">
        <p14:creationId xmlns:p14="http://schemas.microsoft.com/office/powerpoint/2010/main" val="1355913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467259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40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616149" y="737191"/>
            <a:ext cx="7527851" cy="79389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821" name="Rectangle 820"/>
          <p:cNvSpPr/>
          <p:nvPr/>
        </p:nvSpPr>
        <p:spPr>
          <a:xfrm>
            <a:off x="283472" y="2609649"/>
            <a:ext cx="3503613" cy="269710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8000" dirty="0" smtClean="0">
                <a:solidFill>
                  <a:srgbClr val="43B02A">
                    <a:lumMod val="75000"/>
                  </a:srgbClr>
                </a:solidFill>
              </a:rPr>
              <a:t>85</a:t>
            </a:r>
            <a:endParaRPr lang="en-US" sz="18000" dirty="0">
              <a:solidFill>
                <a:srgbClr val="43B02A">
                  <a:lumMod val="75000"/>
                </a:srgbClr>
              </a:solidFill>
            </a:endParaRPr>
          </a:p>
        </p:txBody>
      </p:sp>
      <p:sp>
        <p:nvSpPr>
          <p:cNvPr id="822" name="Isosceles Triangle 821"/>
          <p:cNvSpPr/>
          <p:nvPr/>
        </p:nvSpPr>
        <p:spPr>
          <a:xfrm rot="5400000">
            <a:off x="3394044" y="3900641"/>
            <a:ext cx="1596980" cy="286657"/>
          </a:xfrm>
          <a:prstGeom prst="triangle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 dirty="0">
              <a:solidFill>
                <a:srgbClr val="43B02A">
                  <a:lumMod val="75000"/>
                </a:srgbClr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4714636" y="1210603"/>
            <a:ext cx="4086323" cy="4265605"/>
            <a:chOff x="4714635" y="628650"/>
            <a:chExt cx="4086323" cy="4260905"/>
          </a:xfrm>
        </p:grpSpPr>
        <p:sp>
          <p:nvSpPr>
            <p:cNvPr id="823" name="Rectangle 822"/>
            <p:cNvSpPr/>
            <p:nvPr/>
          </p:nvSpPr>
          <p:spPr>
            <a:xfrm>
              <a:off x="4714635" y="628650"/>
              <a:ext cx="4086323" cy="2069058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/>
            <a:lstStyle/>
            <a:p>
              <a:pPr algn="ctr"/>
              <a:r>
                <a:rPr lang="en-US" sz="4000" b="1" i="1" dirty="0">
                  <a:solidFill>
                    <a:srgbClr val="43B02A">
                      <a:lumMod val="75000"/>
                    </a:srgbClr>
                  </a:solidFill>
                </a:rPr>
                <a:t>Newly endorsed products for </a:t>
              </a:r>
              <a:r>
                <a:rPr lang="en-US" sz="4000" b="1" i="1" dirty="0" smtClean="0">
                  <a:solidFill>
                    <a:srgbClr val="43B02A">
                      <a:lumMod val="75000"/>
                    </a:srgbClr>
                  </a:solidFill>
                </a:rPr>
                <a:t>US</a:t>
              </a:r>
              <a:endParaRPr lang="en-US" sz="4000" b="1" i="1" dirty="0">
                <a:solidFill>
                  <a:srgbClr val="43B02A">
                    <a:lumMod val="75000"/>
                  </a:srgbClr>
                </a:solidFill>
              </a:endParaRPr>
            </a:p>
          </p:txBody>
        </p:sp>
        <p:pic>
          <p:nvPicPr>
            <p:cNvPr id="7203" name="Picture 35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18567" y="2276774"/>
              <a:ext cx="3478461" cy="261278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743177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658500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  <a:sym typeface="+mn-lt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606715" y="737191"/>
            <a:ext cx="7527851" cy="79389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821" name="Rectangle 820"/>
          <p:cNvSpPr/>
          <p:nvPr/>
        </p:nvSpPr>
        <p:spPr>
          <a:xfrm>
            <a:off x="231264" y="2737277"/>
            <a:ext cx="3503613" cy="269710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8000" dirty="0" smtClean="0">
                <a:solidFill>
                  <a:srgbClr val="FFFFFF">
                    <a:lumMod val="50000"/>
                  </a:srgbClr>
                </a:solidFill>
              </a:rPr>
              <a:t>50</a:t>
            </a:r>
            <a:endParaRPr lang="en-US" sz="18000" dirty="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3876539" y="544006"/>
            <a:ext cx="5161915" cy="5958510"/>
            <a:chOff x="3876537" y="395415"/>
            <a:chExt cx="5161915" cy="6300284"/>
          </a:xfrm>
        </p:grpSpPr>
        <p:grpSp>
          <p:nvGrpSpPr>
            <p:cNvPr id="2" name="Group 1"/>
            <p:cNvGrpSpPr/>
            <p:nvPr/>
          </p:nvGrpSpPr>
          <p:grpSpPr>
            <a:xfrm>
              <a:off x="3876537" y="395415"/>
              <a:ext cx="5161915" cy="6168197"/>
              <a:chOff x="3876537" y="395415"/>
              <a:chExt cx="5161915" cy="6168197"/>
            </a:xfrm>
          </p:grpSpPr>
          <p:sp>
            <p:nvSpPr>
              <p:cNvPr id="9" name="Isosceles Triangle 8"/>
              <p:cNvSpPr/>
              <p:nvPr/>
            </p:nvSpPr>
            <p:spPr>
              <a:xfrm rot="5400000">
                <a:off x="2966145" y="4123999"/>
                <a:ext cx="2082704" cy="261919"/>
              </a:xfrm>
              <a:prstGeom prst="triangl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4800" dirty="0">
                  <a:solidFill>
                    <a:srgbClr val="FFFFFF">
                      <a:lumMod val="50000"/>
                    </a:srgbClr>
                  </a:solidFill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4119410" y="395415"/>
                <a:ext cx="4919042" cy="6168197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t"/>
              <a:lstStyle/>
              <a:p>
                <a:pPr algn="ctr"/>
                <a:r>
                  <a:rPr lang="en-US" sz="3600" b="1" i="1" dirty="0" smtClean="0">
                    <a:solidFill>
                      <a:srgbClr val="FFFFFF">
                        <a:lumMod val="50000"/>
                      </a:srgbClr>
                    </a:solidFill>
                  </a:rPr>
                  <a:t>Injectable products now in our US pipeline</a:t>
                </a:r>
                <a:endParaRPr lang="en-US" sz="3600" i="1" dirty="0">
                  <a:solidFill>
                    <a:srgbClr val="FFFFFF">
                      <a:lumMod val="50000"/>
                    </a:srgbClr>
                  </a:solidFill>
                </a:endParaRPr>
              </a:p>
            </p:txBody>
          </p:sp>
        </p:grpSp>
        <p:sp>
          <p:nvSpPr>
            <p:cNvPr id="17" name="Rectangle 16"/>
            <p:cNvSpPr/>
            <p:nvPr/>
          </p:nvSpPr>
          <p:spPr>
            <a:xfrm>
              <a:off x="4811977" y="2736986"/>
              <a:ext cx="3802592" cy="353572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accent3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 smtClean="0">
                  <a:solidFill>
                    <a:prstClr val="white"/>
                  </a:solidFill>
                  <a:cs typeface="Arial" pitchFamily="34" charset="0"/>
                </a:rPr>
                <a:t>Projected Sales of Marketed/Pipeline $US</a:t>
              </a:r>
            </a:p>
          </p:txBody>
        </p:sp>
        <p:pic>
          <p:nvPicPr>
            <p:cNvPr id="23606" name="Picture 54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43992" y="3298448"/>
              <a:ext cx="3738563" cy="33972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68377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802" y="267526"/>
            <a:ext cx="6857999" cy="531749"/>
          </a:xfrm>
        </p:spPr>
        <p:txBody>
          <a:bodyPr>
            <a:normAutofit/>
          </a:bodyPr>
          <a:lstStyle/>
          <a:p>
            <a:r>
              <a:rPr lang="en-US" dirty="0" smtClean="0"/>
              <a:t>Actavis won the race on FTFs in 2013!</a:t>
            </a:r>
            <a:endParaRPr lang="en-US" dirty="0"/>
          </a:p>
        </p:txBody>
      </p:sp>
      <p:pic>
        <p:nvPicPr>
          <p:cNvPr id="4" name="Picture 3" descr="bolt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631211" y="1065149"/>
            <a:ext cx="6896100" cy="5516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7883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057084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6" name="think-cell Slide" r:id="rId39" imgW="360" imgH="360" progId="TCLayout.ActiveDocument.1">
                  <p:embed/>
                </p:oleObj>
              </mc:Choice>
              <mc:Fallback>
                <p:oleObj name="think-cell Slide" r:id="rId39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1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90712" y="279400"/>
            <a:ext cx="7862888" cy="809464"/>
          </a:xfrm>
        </p:spPr>
        <p:txBody>
          <a:bodyPr anchor="ctr"/>
          <a:lstStyle/>
          <a:p>
            <a:r>
              <a:rPr lang="en-US" dirty="0"/>
              <a:t>Actavis </a:t>
            </a:r>
            <a:r>
              <a:rPr lang="en-US" dirty="0" smtClean="0"/>
              <a:t>Leads US </a:t>
            </a:r>
            <a:r>
              <a:rPr lang="en-US" dirty="0"/>
              <a:t>First-to-files</a:t>
            </a:r>
          </a:p>
        </p:txBody>
      </p:sp>
      <p:graphicFrame>
        <p:nvGraphicFramePr>
          <p:cNvPr id="4" name="Object 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13481880"/>
              </p:ext>
            </p:extLst>
          </p:nvPr>
        </p:nvGraphicFramePr>
        <p:xfrm>
          <a:off x="876300" y="1981227"/>
          <a:ext cx="7943820" cy="36829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7" name="Chart" r:id="rId41" imgW="7943820" imgH="2762230" progId="MSGraph.Chart.8">
                  <p:embed followColorScheme="full"/>
                </p:oleObj>
              </mc:Choice>
              <mc:Fallback>
                <p:oleObj name="Chart" r:id="rId41" imgW="7943820" imgH="276223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876300" y="1981227"/>
                        <a:ext cx="7943820" cy="36829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Text Placeholder 3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087814" y="5287434"/>
            <a:ext cx="149225" cy="283633"/>
          </a:xfrm>
          <a:prstGeom prst="rect">
            <a:avLst/>
          </a:prstGeom>
          <a:noFill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Font typeface="Arial"/>
              <a:buNone/>
              <a:defRPr sz="1600" kern="1200" baseline="0">
                <a:solidFill>
                  <a:schemeClr val="tx1">
                    <a:lumMod val="50000"/>
                  </a:schemeClr>
                </a:solidFill>
                <a:latin typeface="DIN-Medium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ct val="1000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>
                    <a:lumMod val="50000"/>
                  </a:schemeClr>
                </a:solidFill>
                <a:latin typeface="DIN-Medium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ct val="1000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>
                    <a:lumMod val="50000"/>
                  </a:schemeClr>
                </a:solidFill>
                <a:latin typeface="DIN-Medium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ct val="1000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>
                    <a:lumMod val="50000"/>
                  </a:schemeClr>
                </a:solidFill>
                <a:latin typeface="DIN-Medium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ct val="1000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>
                    <a:lumMod val="50000"/>
                  </a:schemeClr>
                </a:solidFill>
                <a:latin typeface="DIN-Medium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01F41B0-0D9D-45D1-BF1B-1C7664A19060}" type="datetime'''''''''''''''''''''1'''''''''''''''''''''''''''''''">
              <a:rPr lang="en-US" sz="1400">
                <a:solidFill>
                  <a:srgbClr val="FFFFFF"/>
                </a:solidFill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z="1400" dirty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24" name="Rectangle 23"/>
          <p:cNvSpPr/>
          <p:nvPr>
            <p:custDataLst>
              <p:tags r:id="rId6"/>
            </p:custDataLst>
          </p:nvPr>
        </p:nvSpPr>
        <p:spPr bwMode="auto">
          <a:xfrm>
            <a:off x="3254376" y="5757334"/>
            <a:ext cx="417513" cy="243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CFC3FF6-8DBE-495C-86C5-A5D12625122F}" type="datetime'''My''''''''la''''''''''''''''''''''''''''''''''n'''''">
              <a:rPr lang="en-US" sz="1200">
                <a:solidFill>
                  <a:srgbClr val="53565A">
                    <a:lumMod val="50000"/>
                  </a:srgbClr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Mylan</a:t>
            </a:fld>
            <a:endParaRPr lang="en-US" sz="1200" dirty="0">
              <a:solidFill>
                <a:srgbClr val="53565A">
                  <a:lumMod val="50000"/>
                </a:srgbClr>
              </a:solidFill>
              <a:sym typeface="+mn-lt"/>
            </a:endParaRPr>
          </a:p>
        </p:txBody>
      </p:sp>
      <p:sp>
        <p:nvSpPr>
          <p:cNvPr id="11" name="Rectangle 10"/>
          <p:cNvSpPr/>
          <p:nvPr>
            <p:custDataLst>
              <p:tags r:id="rId7"/>
            </p:custDataLst>
          </p:nvPr>
        </p:nvSpPr>
        <p:spPr bwMode="gray">
          <a:xfrm>
            <a:off x="3387726" y="4267201"/>
            <a:ext cx="149225" cy="28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37675C2-9C7E-4C2F-B8C6-832B8C33864C}" type="datetime'''''''''''5'''''''''''''''">
              <a:rPr lang="en-US" sz="1400">
                <a:solidFill>
                  <a:srgbClr val="53565A">
                    <a:lumMod val="50000"/>
                  </a:srgbClr>
                </a:solidFill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sz="1400">
              <a:solidFill>
                <a:srgbClr val="53565A">
                  <a:lumMod val="50000"/>
                </a:srgbClr>
              </a:solidFill>
              <a:sym typeface="Arial"/>
            </a:endParaRPr>
          </a:p>
        </p:txBody>
      </p:sp>
      <p:sp>
        <p:nvSpPr>
          <p:cNvPr id="5" name="Rectangle 4"/>
          <p:cNvSpPr/>
          <p:nvPr>
            <p:custDataLst>
              <p:tags r:id="rId8"/>
            </p:custDataLst>
          </p:nvPr>
        </p:nvSpPr>
        <p:spPr bwMode="auto">
          <a:xfrm>
            <a:off x="1111250" y="5757334"/>
            <a:ext cx="503238" cy="243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6DFBC4C-BABC-4FFE-A449-797D02DEB5B4}" type="datetime'''''''''Ac''''''''''''''''tav''i''''''''''''''''''''s'''">
              <a:rPr lang="en-US" sz="1200">
                <a:solidFill>
                  <a:srgbClr val="53565A">
                    <a:lumMod val="50000"/>
                  </a:srgb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ctavis</a:t>
            </a:fld>
            <a:endParaRPr lang="en-US" sz="1200" dirty="0">
              <a:solidFill>
                <a:srgbClr val="53565A">
                  <a:lumMod val="50000"/>
                </a:srgbClr>
              </a:solidFill>
              <a:sym typeface="+mn-lt"/>
            </a:endParaRPr>
          </a:p>
        </p:txBody>
      </p:sp>
      <p:sp>
        <p:nvSpPr>
          <p:cNvPr id="40" name="Rectangle 39"/>
          <p:cNvSpPr/>
          <p:nvPr>
            <p:custDataLst>
              <p:tags r:id="rId9"/>
            </p:custDataLst>
          </p:nvPr>
        </p:nvSpPr>
        <p:spPr bwMode="gray">
          <a:xfrm>
            <a:off x="1238250" y="1816101"/>
            <a:ext cx="247650" cy="28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26651C0-7594-4EED-88F6-E7086EE8628A}" type="datetime'''''''''''''''''''''''''''1''''''''''''''''''''8'''''">
              <a:rPr lang="en-US" sz="1400">
                <a:solidFill>
                  <a:srgbClr val="53565A">
                    <a:lumMod val="50000"/>
                  </a:srgb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en-US" sz="1400">
              <a:solidFill>
                <a:srgbClr val="53565A">
                  <a:lumMod val="50000"/>
                </a:srgbClr>
              </a:solidFill>
              <a:sym typeface="Arial"/>
            </a:endParaRPr>
          </a:p>
        </p:txBody>
      </p:sp>
      <p:sp>
        <p:nvSpPr>
          <p:cNvPr id="26" name="Rectangle 25"/>
          <p:cNvSpPr/>
          <p:nvPr>
            <p:custDataLst>
              <p:tags r:id="rId10"/>
            </p:custDataLst>
          </p:nvPr>
        </p:nvSpPr>
        <p:spPr bwMode="auto">
          <a:xfrm>
            <a:off x="4629151" y="5757334"/>
            <a:ext cx="468313" cy="243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C903D00-A86B-45A8-B58B-E1163047C3D1}" type="datetime'''''''''''''''''''''''''''''''''H''''ete''r''o'''''''''''">
              <a:rPr lang="en-US" sz="1200">
                <a:solidFill>
                  <a:srgbClr val="53565A">
                    <a:lumMod val="50000"/>
                  </a:srgbClr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Hetero</a:t>
            </a:fld>
            <a:endParaRPr lang="en-US" sz="1200">
              <a:solidFill>
                <a:srgbClr val="53565A">
                  <a:lumMod val="50000"/>
                </a:srgbClr>
              </a:solidFill>
              <a:sym typeface="+mn-lt"/>
            </a:endParaRPr>
          </a:p>
        </p:txBody>
      </p:sp>
      <p:sp>
        <p:nvSpPr>
          <p:cNvPr id="50" name="Rectangle 49"/>
          <p:cNvSpPr/>
          <p:nvPr>
            <p:custDataLst>
              <p:tags r:id="rId11"/>
            </p:custDataLst>
          </p:nvPr>
        </p:nvSpPr>
        <p:spPr bwMode="gray">
          <a:xfrm>
            <a:off x="4787901" y="4457701"/>
            <a:ext cx="149225" cy="28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01A39E1-FD69-490A-838E-27A8088B810F}" type="datetime'''''''''''''''''''''''''''''''''''''''''''''''''''''4'''''''''">
              <a:rPr lang="en-US" sz="1400">
                <a:solidFill>
                  <a:srgbClr val="53565A">
                    <a:lumMod val="50000"/>
                  </a:srgbClr>
                </a:solidFill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 sz="1400">
              <a:solidFill>
                <a:srgbClr val="53565A">
                  <a:lumMod val="50000"/>
                </a:srgbClr>
              </a:solidFill>
              <a:sym typeface="Arial"/>
            </a:endParaRPr>
          </a:p>
        </p:txBody>
      </p:sp>
      <p:sp>
        <p:nvSpPr>
          <p:cNvPr id="25" name="Rectangle 24"/>
          <p:cNvSpPr/>
          <p:nvPr>
            <p:custDataLst>
              <p:tags r:id="rId12"/>
            </p:custDataLst>
          </p:nvPr>
        </p:nvSpPr>
        <p:spPr bwMode="auto">
          <a:xfrm>
            <a:off x="3827464" y="5757334"/>
            <a:ext cx="671513" cy="243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8DF0C0F-ECB7-4B69-AD42-5B46143EE966}" type="datetime'''''''''''''G''''''''l''e''n''''m''''a''r''''''''k'''''">
              <a:rPr lang="en-US" sz="1200">
                <a:solidFill>
                  <a:srgbClr val="53565A">
                    <a:lumMod val="50000"/>
                  </a:srgbClr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Glenmark</a:t>
            </a:fld>
            <a:endParaRPr lang="en-US" sz="1200">
              <a:solidFill>
                <a:srgbClr val="53565A">
                  <a:lumMod val="50000"/>
                </a:srgbClr>
              </a:solidFill>
              <a:sym typeface="+mn-lt"/>
            </a:endParaRPr>
          </a:p>
        </p:txBody>
      </p:sp>
      <p:sp>
        <p:nvSpPr>
          <p:cNvPr id="13" name="Rectangle 12"/>
          <p:cNvSpPr/>
          <p:nvPr>
            <p:custDataLst>
              <p:tags r:id="rId13"/>
            </p:custDataLst>
          </p:nvPr>
        </p:nvSpPr>
        <p:spPr bwMode="gray">
          <a:xfrm>
            <a:off x="4087814" y="4457701"/>
            <a:ext cx="149225" cy="28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50863B4-28A4-4F6A-A6D1-E97B0819C3B1}" type="datetime'''''''''''''''''''''''''''''''''4'''''''''''''''''''''">
              <a:rPr lang="en-US" sz="1400">
                <a:solidFill>
                  <a:srgbClr val="53565A">
                    <a:lumMod val="50000"/>
                  </a:srgbClr>
                </a:solidFill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 sz="1400">
              <a:solidFill>
                <a:srgbClr val="53565A">
                  <a:lumMod val="50000"/>
                </a:srgbClr>
              </a:solidFill>
              <a:sym typeface="Arial"/>
            </a:endParaRPr>
          </a:p>
        </p:txBody>
      </p:sp>
      <p:sp>
        <p:nvSpPr>
          <p:cNvPr id="23" name="Rectangle 22"/>
          <p:cNvSpPr/>
          <p:nvPr>
            <p:custDataLst>
              <p:tags r:id="rId14"/>
            </p:custDataLst>
          </p:nvPr>
        </p:nvSpPr>
        <p:spPr bwMode="auto">
          <a:xfrm>
            <a:off x="2498725" y="5757334"/>
            <a:ext cx="527050" cy="243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0194746-E4DF-45C5-95E7-FB650DB0996E}" type="datetime'A''m''n''''''''e''''''''''''''''''''''''''''''''''''''''a''l'">
              <a:rPr lang="en-US" sz="1200">
                <a:solidFill>
                  <a:srgbClr val="53565A">
                    <a:lumMod val="50000"/>
                  </a:srgb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mneal</a:t>
            </a:fld>
            <a:endParaRPr lang="en-US" sz="1200" dirty="0">
              <a:solidFill>
                <a:srgbClr val="53565A">
                  <a:lumMod val="50000"/>
                </a:srgbClr>
              </a:solidFill>
              <a:sym typeface="Arial"/>
            </a:endParaRPr>
          </a:p>
        </p:txBody>
      </p:sp>
      <p:sp>
        <p:nvSpPr>
          <p:cNvPr id="9" name="Rectangle 8"/>
          <p:cNvSpPr/>
          <p:nvPr>
            <p:custDataLst>
              <p:tags r:id="rId15"/>
            </p:custDataLst>
          </p:nvPr>
        </p:nvSpPr>
        <p:spPr bwMode="gray">
          <a:xfrm>
            <a:off x="2687638" y="4267201"/>
            <a:ext cx="149225" cy="28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9469D7F-BD12-4821-8F75-25D9E383C00F}" type="datetime'''''''''''''''''''''''''''''''''''''''''''''''''''''''''''''5'">
              <a:rPr lang="en-US" sz="1400">
                <a:solidFill>
                  <a:srgbClr val="53565A">
                    <a:lumMod val="50000"/>
                  </a:srgbClr>
                </a:solidFill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sz="1400" dirty="0">
              <a:solidFill>
                <a:srgbClr val="53565A">
                  <a:lumMod val="50000"/>
                </a:srgbClr>
              </a:solidFill>
              <a:sym typeface="Arial"/>
            </a:endParaRPr>
          </a:p>
        </p:txBody>
      </p:sp>
      <p:sp>
        <p:nvSpPr>
          <p:cNvPr id="57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687638" y="5287434"/>
            <a:ext cx="149225" cy="283633"/>
          </a:xfrm>
          <a:prstGeom prst="rect">
            <a:avLst/>
          </a:prstGeom>
          <a:noFill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Font typeface="Arial"/>
              <a:buNone/>
              <a:defRPr sz="1600" kern="1200" baseline="0">
                <a:solidFill>
                  <a:schemeClr val="tx1">
                    <a:lumMod val="50000"/>
                  </a:schemeClr>
                </a:solidFill>
                <a:latin typeface="DIN-Medium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ct val="1000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>
                    <a:lumMod val="50000"/>
                  </a:schemeClr>
                </a:solidFill>
                <a:latin typeface="DIN-Medium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ct val="1000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>
                    <a:lumMod val="50000"/>
                  </a:schemeClr>
                </a:solidFill>
                <a:latin typeface="DIN-Medium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ct val="1000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>
                    <a:lumMod val="50000"/>
                  </a:schemeClr>
                </a:solidFill>
                <a:latin typeface="DIN-Medium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ct val="1000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>
                    <a:lumMod val="50000"/>
                  </a:schemeClr>
                </a:solidFill>
                <a:latin typeface="DIN-Medium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782D60B-35BC-4BAF-A437-85CDB15813D5}" type="datetime'''''''''''''''''''''''''''''''1'''''''''''''''''''''">
              <a:rPr lang="en-US" sz="1400">
                <a:solidFill>
                  <a:srgbClr val="FFFFFF"/>
                </a:solidFill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z="1400" dirty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42" name="Rectangle 41"/>
          <p:cNvSpPr/>
          <p:nvPr>
            <p:custDataLst>
              <p:tags r:id="rId17"/>
            </p:custDataLst>
          </p:nvPr>
        </p:nvSpPr>
        <p:spPr bwMode="auto">
          <a:xfrm>
            <a:off x="1798638" y="5757334"/>
            <a:ext cx="527050" cy="243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3460A88-00DC-4B79-8B2E-E90BD37EE420}" type="datetime'Sa''n''''''d''''''''''''''''o''''''''''''z'''''''''''''''''">
              <a:rPr lang="en-US" sz="1200">
                <a:solidFill>
                  <a:srgbClr val="53565A">
                    <a:lumMod val="50000"/>
                  </a:srgb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Sandoz</a:t>
            </a:fld>
            <a:endParaRPr lang="en-US" sz="1200" dirty="0">
              <a:solidFill>
                <a:srgbClr val="53565A">
                  <a:lumMod val="50000"/>
                </a:srgbClr>
              </a:solidFill>
              <a:sym typeface="Arial"/>
            </a:endParaRPr>
          </a:p>
        </p:txBody>
      </p:sp>
      <p:sp>
        <p:nvSpPr>
          <p:cNvPr id="7" name="Rectangle 6"/>
          <p:cNvSpPr/>
          <p:nvPr>
            <p:custDataLst>
              <p:tags r:id="rId18"/>
            </p:custDataLst>
          </p:nvPr>
        </p:nvSpPr>
        <p:spPr bwMode="gray">
          <a:xfrm>
            <a:off x="1987551" y="3695701"/>
            <a:ext cx="149225" cy="28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711229F-3508-4AE8-9AFC-B5D92418B99D}" type="datetime'''''8'''''''''''''''''''''''''''''''''''''''''''''">
              <a:rPr lang="en-US" sz="1400">
                <a:solidFill>
                  <a:srgbClr val="53565A">
                    <a:lumMod val="50000"/>
                  </a:srgb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US" sz="1400">
              <a:solidFill>
                <a:srgbClr val="53565A">
                  <a:lumMod val="50000"/>
                </a:srgbClr>
              </a:solidFill>
              <a:sym typeface="Arial"/>
            </a:endParaRPr>
          </a:p>
        </p:txBody>
      </p:sp>
      <p:sp>
        <p:nvSpPr>
          <p:cNvPr id="28" name="Rectangle 27"/>
          <p:cNvSpPr/>
          <p:nvPr>
            <p:custDataLst>
              <p:tags r:id="rId19"/>
            </p:custDataLst>
          </p:nvPr>
        </p:nvSpPr>
        <p:spPr bwMode="auto">
          <a:xfrm>
            <a:off x="6072188" y="5757334"/>
            <a:ext cx="382588" cy="243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751BFAB-234D-42CF-8FE8-FD4218AFEAFB}" type="datetime'L''''''''''u''''''''pi''''''''''n'''''">
              <a:rPr lang="en-US" sz="1200">
                <a:solidFill>
                  <a:srgbClr val="53565A">
                    <a:lumMod val="50000"/>
                  </a:srgbClr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Lupin</a:t>
            </a:fld>
            <a:endParaRPr lang="en-US" sz="1200">
              <a:solidFill>
                <a:srgbClr val="53565A">
                  <a:lumMod val="50000"/>
                </a:srgbClr>
              </a:solidFill>
              <a:sym typeface="+mn-lt"/>
            </a:endParaRPr>
          </a:p>
        </p:txBody>
      </p:sp>
      <p:sp>
        <p:nvSpPr>
          <p:cNvPr id="54" name="Rectangle 53"/>
          <p:cNvSpPr/>
          <p:nvPr>
            <p:custDataLst>
              <p:tags r:id="rId20"/>
            </p:custDataLst>
          </p:nvPr>
        </p:nvSpPr>
        <p:spPr bwMode="gray">
          <a:xfrm>
            <a:off x="6188076" y="4648201"/>
            <a:ext cx="149225" cy="28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88FE4C0-F38D-49BD-9713-9203B03416AF}" type="datetime'''''''''''''''''''''''''''''''''''''3'''''''''''''''">
              <a:rPr lang="en-US" sz="1400">
                <a:solidFill>
                  <a:srgbClr val="53565A">
                    <a:lumMod val="50000"/>
                  </a:srgbClr>
                </a:solidFill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sz="1400">
              <a:solidFill>
                <a:srgbClr val="53565A">
                  <a:lumMod val="50000"/>
                </a:srgbClr>
              </a:solidFill>
              <a:sym typeface="Arial"/>
            </a:endParaRPr>
          </a:p>
        </p:txBody>
      </p:sp>
      <p:sp>
        <p:nvSpPr>
          <p:cNvPr id="27" name="Rectangle 26"/>
          <p:cNvSpPr/>
          <p:nvPr>
            <p:custDataLst>
              <p:tags r:id="rId21"/>
            </p:custDataLst>
          </p:nvPr>
        </p:nvSpPr>
        <p:spPr bwMode="auto">
          <a:xfrm>
            <a:off x="5345114" y="5757334"/>
            <a:ext cx="434975" cy="486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586A242-D20F-4EEC-9582-B8B327E5E4AF}" type="datetime'''A''''''''''l''k''''''e''''''''''''m'''' Lab''''''''''s'">
              <a:rPr lang="en-US" sz="1200">
                <a:solidFill>
                  <a:srgbClr val="53565A">
                    <a:lumMod val="50000"/>
                  </a:srgbClr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lkem Labs</a:t>
            </a:fld>
            <a:endParaRPr lang="en-US" sz="1200" dirty="0">
              <a:solidFill>
                <a:srgbClr val="53565A">
                  <a:lumMod val="50000"/>
                </a:srgbClr>
              </a:solidFill>
              <a:sym typeface="+mn-lt"/>
            </a:endParaRPr>
          </a:p>
        </p:txBody>
      </p:sp>
      <p:sp>
        <p:nvSpPr>
          <p:cNvPr id="52" name="Rectangle 51"/>
          <p:cNvSpPr/>
          <p:nvPr>
            <p:custDataLst>
              <p:tags r:id="rId22"/>
            </p:custDataLst>
          </p:nvPr>
        </p:nvSpPr>
        <p:spPr bwMode="gray">
          <a:xfrm>
            <a:off x="5487989" y="4648201"/>
            <a:ext cx="149225" cy="28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CF6C9D5-C7A8-4B2F-B1A6-0E57593A9A60}" type="datetime'3'''''''''''''''''">
              <a:rPr lang="en-US" sz="1400">
                <a:solidFill>
                  <a:srgbClr val="53565A">
                    <a:lumMod val="50000"/>
                  </a:srgbClr>
                </a:solidFill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sz="1400">
              <a:solidFill>
                <a:srgbClr val="53565A">
                  <a:lumMod val="50000"/>
                </a:srgbClr>
              </a:solidFill>
              <a:sym typeface="Arial"/>
            </a:endParaRPr>
          </a:p>
        </p:txBody>
      </p:sp>
      <p:sp>
        <p:nvSpPr>
          <p:cNvPr id="31" name="Rectangle 30"/>
          <p:cNvSpPr/>
          <p:nvPr>
            <p:custDataLst>
              <p:tags r:id="rId23"/>
            </p:custDataLst>
          </p:nvPr>
        </p:nvSpPr>
        <p:spPr bwMode="auto">
          <a:xfrm>
            <a:off x="8001000" y="5757334"/>
            <a:ext cx="914400" cy="486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C6168EB-738F-4EE4-8836-01E435119078}" type="datetime'Othe''''''''''''''''r''''''''''''s*'''''''' (''''1''6'''')'">
              <a:rPr lang="en-US" sz="1200">
                <a:solidFill>
                  <a:srgbClr val="53565A">
                    <a:lumMod val="50000"/>
                  </a:srgb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Others* (16)</a:t>
            </a:fld>
            <a:endParaRPr lang="en-US" sz="1200" dirty="0">
              <a:solidFill>
                <a:srgbClr val="53565A">
                  <a:lumMod val="50000"/>
                </a:srgbClr>
              </a:solidFill>
              <a:sym typeface="Arial"/>
            </a:endParaRPr>
          </a:p>
        </p:txBody>
      </p:sp>
      <p:sp>
        <p:nvSpPr>
          <p:cNvPr id="49" name="Rectangle 48"/>
          <p:cNvSpPr/>
          <p:nvPr>
            <p:custDataLst>
              <p:tags r:id="rId24"/>
            </p:custDataLst>
          </p:nvPr>
        </p:nvSpPr>
        <p:spPr bwMode="gray">
          <a:xfrm>
            <a:off x="8240714" y="4826001"/>
            <a:ext cx="246063" cy="28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53565A">
                    <a:lumMod val="50000"/>
                  </a:srgbClr>
                </a:solidFill>
                <a:sym typeface="Arial"/>
              </a:rPr>
              <a:t>≤</a:t>
            </a:r>
            <a:fld id="{A7F51F43-2523-4CD8-B5FA-4B80B895B982}" type="datetime'''''''''''''''''''''''''''''''''''''''''''''''''2'">
              <a:rPr lang="en-US" sz="1400" smtClean="0">
                <a:solidFill>
                  <a:srgbClr val="53565A">
                    <a:lumMod val="50000"/>
                  </a:srgbClr>
                </a:solidFill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400" dirty="0">
              <a:solidFill>
                <a:srgbClr val="53565A">
                  <a:lumMod val="50000"/>
                </a:srgbClr>
              </a:solidFill>
              <a:sym typeface="Arial"/>
            </a:endParaRPr>
          </a:p>
        </p:txBody>
      </p:sp>
      <p:sp>
        <p:nvSpPr>
          <p:cNvPr id="30" name="Rectangle 29"/>
          <p:cNvSpPr/>
          <p:nvPr>
            <p:custDataLst>
              <p:tags r:id="rId25"/>
            </p:custDataLst>
          </p:nvPr>
        </p:nvSpPr>
        <p:spPr bwMode="auto">
          <a:xfrm>
            <a:off x="7450138" y="5757334"/>
            <a:ext cx="427038" cy="243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4692DF5-FBDF-473F-AD39-0437E4C75C16}" type="datetime'''''''Z''y''''''''''''d''''u''''''''s'''''''''''''''''''''''''">
              <a:rPr lang="en-US" sz="1200">
                <a:solidFill>
                  <a:srgbClr val="53565A">
                    <a:lumMod val="50000"/>
                  </a:srgbClr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Zydus</a:t>
            </a:fld>
            <a:endParaRPr lang="en-US" sz="1200">
              <a:solidFill>
                <a:srgbClr val="53565A">
                  <a:lumMod val="50000"/>
                </a:srgbClr>
              </a:solidFill>
              <a:sym typeface="+mn-lt"/>
            </a:endParaRPr>
          </a:p>
        </p:txBody>
      </p:sp>
      <p:sp>
        <p:nvSpPr>
          <p:cNvPr id="17" name="Rectangle 16"/>
          <p:cNvSpPr/>
          <p:nvPr>
            <p:custDataLst>
              <p:tags r:id="rId26"/>
            </p:custDataLst>
          </p:nvPr>
        </p:nvSpPr>
        <p:spPr bwMode="gray">
          <a:xfrm>
            <a:off x="7588251" y="4648201"/>
            <a:ext cx="149225" cy="28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C08C43E-9981-4CB2-9B34-73119154F176}" type="datetime'''''3'''''''''''''''''''''''''''''''''''''''''''''''''''''''">
              <a:rPr lang="en-US" sz="1400">
                <a:solidFill>
                  <a:srgbClr val="53565A">
                    <a:lumMod val="50000"/>
                  </a:srgbClr>
                </a:solidFill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sz="1400" dirty="0">
              <a:solidFill>
                <a:srgbClr val="53565A">
                  <a:lumMod val="50000"/>
                </a:srgbClr>
              </a:solidFill>
              <a:sym typeface="Arial"/>
            </a:endParaRPr>
          </a:p>
        </p:txBody>
      </p:sp>
      <p:sp>
        <p:nvSpPr>
          <p:cNvPr id="60" name="Text Placeholder 6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588251" y="5287434"/>
            <a:ext cx="149225" cy="283633"/>
          </a:xfrm>
          <a:prstGeom prst="rect">
            <a:avLst/>
          </a:prstGeom>
          <a:noFill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Font typeface="Arial"/>
              <a:buNone/>
              <a:defRPr sz="1600" kern="1200" baseline="0">
                <a:solidFill>
                  <a:schemeClr val="tx1">
                    <a:lumMod val="50000"/>
                  </a:schemeClr>
                </a:solidFill>
                <a:latin typeface="DIN-Medium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ct val="1000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>
                    <a:lumMod val="50000"/>
                  </a:schemeClr>
                </a:solidFill>
                <a:latin typeface="DIN-Medium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ct val="1000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>
                    <a:lumMod val="50000"/>
                  </a:schemeClr>
                </a:solidFill>
                <a:latin typeface="DIN-Medium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ct val="1000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>
                    <a:lumMod val="50000"/>
                  </a:schemeClr>
                </a:solidFill>
                <a:latin typeface="DIN-Medium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ct val="1000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>
                    <a:lumMod val="50000"/>
                  </a:schemeClr>
                </a:solidFill>
                <a:latin typeface="DIN-Medium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5483273-06EF-4100-BAD5-C6C3332673E9}" type="datetime'''''''''1'''''''''''''''''''''''''''''''''''''''''''''''''''">
              <a:rPr lang="en-US" sz="1400">
                <a:solidFill>
                  <a:srgbClr val="FFFFFF"/>
                </a:solidFill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z="1400" dirty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29" name="Rectangle 28"/>
          <p:cNvSpPr/>
          <p:nvPr>
            <p:custDataLst>
              <p:tags r:id="rId28"/>
            </p:custDataLst>
          </p:nvPr>
        </p:nvSpPr>
        <p:spPr bwMode="auto">
          <a:xfrm>
            <a:off x="6796089" y="5757334"/>
            <a:ext cx="333375" cy="243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1DD5B01-0C14-434E-BD6A-D31E46207FEB}" type="datetime'''''''''''''''''Te''''''v''''a'''''''''''">
              <a:rPr lang="en-US" sz="1200">
                <a:solidFill>
                  <a:srgbClr val="53565A">
                    <a:lumMod val="50000"/>
                  </a:srgbClr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Teva</a:t>
            </a:fld>
            <a:endParaRPr lang="en-US" sz="1200">
              <a:solidFill>
                <a:srgbClr val="53565A">
                  <a:lumMod val="50000"/>
                </a:srgbClr>
              </a:solidFill>
              <a:sym typeface="+mn-lt"/>
            </a:endParaRPr>
          </a:p>
        </p:txBody>
      </p:sp>
      <p:sp>
        <p:nvSpPr>
          <p:cNvPr id="15" name="Rectangle 14"/>
          <p:cNvSpPr/>
          <p:nvPr>
            <p:custDataLst>
              <p:tags r:id="rId29"/>
            </p:custDataLst>
          </p:nvPr>
        </p:nvSpPr>
        <p:spPr bwMode="gray">
          <a:xfrm>
            <a:off x="6888164" y="4648201"/>
            <a:ext cx="149225" cy="28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3FFE04C-3CC1-4AB0-8F95-C8638E353175}" type="datetime'''''''''''''''''''''''''''''''''''''''''''''''''''3'''''''''">
              <a:rPr lang="en-US" sz="1400">
                <a:solidFill>
                  <a:srgbClr val="53565A">
                    <a:lumMod val="50000"/>
                  </a:srgbClr>
                </a:solidFill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sz="1400">
              <a:solidFill>
                <a:srgbClr val="53565A">
                  <a:lumMod val="50000"/>
                </a:srgbClr>
              </a:solidFill>
              <a:sym typeface="Arial"/>
            </a:endParaRPr>
          </a:p>
        </p:txBody>
      </p:sp>
      <p:sp>
        <p:nvSpPr>
          <p:cNvPr id="59" name="Text Placeholder 4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888164" y="5287434"/>
            <a:ext cx="149225" cy="283633"/>
          </a:xfrm>
          <a:prstGeom prst="rect">
            <a:avLst/>
          </a:prstGeom>
          <a:noFill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0"/>
              </a:spcBef>
              <a:buFont typeface="Arial"/>
              <a:buNone/>
              <a:defRPr sz="1600" kern="1200" baseline="0">
                <a:solidFill>
                  <a:schemeClr val="tx1">
                    <a:lumMod val="50000"/>
                  </a:schemeClr>
                </a:solidFill>
                <a:latin typeface="DIN-Medium"/>
                <a:ea typeface="+mn-ea"/>
                <a:cs typeface="+mn-cs"/>
              </a:defRPr>
            </a:lvl1pPr>
            <a:lvl2pPr marL="231775" indent="-231775" algn="l" defTabSz="457200" rtl="0" eaLnBrk="1" latinLnBrk="0" hangingPunct="1">
              <a:lnSpc>
                <a:spcPct val="1000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>
                    <a:lumMod val="50000"/>
                  </a:schemeClr>
                </a:solidFill>
                <a:latin typeface="DIN-Medium"/>
                <a:ea typeface="+mn-ea"/>
                <a:cs typeface="+mn-cs"/>
              </a:defRPr>
            </a:lvl2pPr>
            <a:lvl3pPr marL="457200" indent="-225425" algn="l" defTabSz="457200" rtl="0" eaLnBrk="1" latinLnBrk="0" hangingPunct="1">
              <a:lnSpc>
                <a:spcPct val="1000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>
                    <a:lumMod val="50000"/>
                  </a:schemeClr>
                </a:solidFill>
                <a:latin typeface="DIN-Medium"/>
                <a:ea typeface="+mn-ea"/>
                <a:cs typeface="+mn-cs"/>
              </a:defRPr>
            </a:lvl3pPr>
            <a:lvl4pPr marL="687388" indent="-230188" algn="l" defTabSz="457200" rtl="0" eaLnBrk="1" latinLnBrk="0" hangingPunct="1">
              <a:lnSpc>
                <a:spcPct val="100000"/>
              </a:lnSpc>
              <a:spcBef>
                <a:spcPts val="0"/>
              </a:spcBef>
              <a:buFont typeface="Arial"/>
              <a:buChar char="•"/>
              <a:defRPr sz="1600" kern="1200">
                <a:solidFill>
                  <a:schemeClr val="tx1">
                    <a:lumMod val="50000"/>
                  </a:schemeClr>
                </a:solidFill>
                <a:latin typeface="DIN-Medium"/>
                <a:ea typeface="+mn-ea"/>
                <a:cs typeface="+mn-cs"/>
              </a:defRPr>
            </a:lvl4pPr>
            <a:lvl5pPr marL="912813" indent="-225425" algn="l" defTabSz="457200" rtl="0" eaLnBrk="1" latinLnBrk="0" hangingPunct="1">
              <a:lnSpc>
                <a:spcPct val="100000"/>
              </a:lnSpc>
              <a:spcBef>
                <a:spcPts val="0"/>
              </a:spcBef>
              <a:buFont typeface="Lucida Grande"/>
              <a:buChar char="-"/>
              <a:defRPr sz="1600" kern="1200">
                <a:solidFill>
                  <a:schemeClr val="tx1">
                    <a:lumMod val="50000"/>
                  </a:schemeClr>
                </a:solidFill>
                <a:latin typeface="DIN-Medium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B40D71E-86F9-4FFC-BD3C-52B3C6613F26}" type="datetime'''''''''''''''''''''''1'''''''''''''''''''''''''''''''''''''">
              <a:rPr lang="en-US" sz="1400">
                <a:solidFill>
                  <a:srgbClr val="FFFFFF"/>
                </a:solidFill>
                <a:latin typeface="Arial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z="1400" dirty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249792" y="1300984"/>
            <a:ext cx="47115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53565A">
                    <a:lumMod val="50000"/>
                  </a:srgbClr>
                </a:solidFill>
              </a:rPr>
              <a:t>Number of First-to-files </a:t>
            </a:r>
            <a:r>
              <a:rPr lang="en-US" dirty="0">
                <a:solidFill>
                  <a:srgbClr val="53565A">
                    <a:lumMod val="50000"/>
                  </a:srgbClr>
                </a:solidFill>
              </a:rPr>
              <a:t>in 2013 by Company</a:t>
            </a:r>
          </a:p>
        </p:txBody>
      </p:sp>
      <p:sp>
        <p:nvSpPr>
          <p:cNvPr id="20" name="Rectangle 19"/>
          <p:cNvSpPr/>
          <p:nvPr>
            <p:custDataLst>
              <p:tags r:id="rId31"/>
            </p:custDataLst>
          </p:nvPr>
        </p:nvSpPr>
        <p:spPr bwMode="auto">
          <a:xfrm>
            <a:off x="6473827" y="2910418"/>
            <a:ext cx="250825" cy="249767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9" name="Rectangle 38"/>
          <p:cNvSpPr/>
          <p:nvPr>
            <p:custDataLst>
              <p:tags r:id="rId32"/>
            </p:custDataLst>
          </p:nvPr>
        </p:nvSpPr>
        <p:spPr bwMode="auto">
          <a:xfrm>
            <a:off x="6473827" y="2559051"/>
            <a:ext cx="250825" cy="2497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44" name="Rectangle 43"/>
          <p:cNvSpPr/>
          <p:nvPr>
            <p:custDataLst>
              <p:tags r:id="rId33"/>
            </p:custDataLst>
          </p:nvPr>
        </p:nvSpPr>
        <p:spPr bwMode="auto">
          <a:xfrm>
            <a:off x="6473827" y="2207685"/>
            <a:ext cx="250825" cy="249767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Rectangle 18"/>
          <p:cNvSpPr/>
          <p:nvPr>
            <p:custDataLst>
              <p:tags r:id="rId34"/>
            </p:custDataLst>
          </p:nvPr>
        </p:nvSpPr>
        <p:spPr bwMode="auto">
          <a:xfrm>
            <a:off x="6775450" y="2904068"/>
            <a:ext cx="1123950" cy="28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E43E058-2110-4762-A486-1EF3D919EF42}" type="datetime'''''E''''xc''''''''''lu''''si''v''e'''' ''F''T''F'">
              <a:rPr lang="en-US" sz="1400">
                <a:solidFill>
                  <a:srgbClr val="53565A">
                    <a:lumMod val="50000"/>
                  </a:srgb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Exclusive FTF</a:t>
            </a:fld>
            <a:endParaRPr lang="en-US" sz="1400">
              <a:solidFill>
                <a:srgbClr val="53565A">
                  <a:lumMod val="50000"/>
                </a:srgbClr>
              </a:solidFill>
              <a:sym typeface="Arial"/>
            </a:endParaRPr>
          </a:p>
        </p:txBody>
      </p:sp>
      <p:sp>
        <p:nvSpPr>
          <p:cNvPr id="32" name="Rectangle 31"/>
          <p:cNvSpPr/>
          <p:nvPr>
            <p:custDataLst>
              <p:tags r:id="rId35"/>
            </p:custDataLst>
          </p:nvPr>
        </p:nvSpPr>
        <p:spPr bwMode="auto">
          <a:xfrm>
            <a:off x="6775452" y="2201334"/>
            <a:ext cx="1897063" cy="28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227C70F-317D-4E93-AA2F-739858EF65E1}" type="datetime'''''''E''x''''clu''siv''e'' + ''''S''har''e''''''''d'' FTF'''">
              <a:rPr lang="en-US" sz="1400">
                <a:solidFill>
                  <a:srgbClr val="53565A">
                    <a:lumMod val="50000"/>
                  </a:srgb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Exclusive + Shared FTF</a:t>
            </a:fld>
            <a:endParaRPr lang="en-US" sz="1400" dirty="0">
              <a:solidFill>
                <a:srgbClr val="53565A">
                  <a:lumMod val="50000"/>
                </a:srgbClr>
              </a:solidFill>
              <a:sym typeface="Arial"/>
            </a:endParaRPr>
          </a:p>
        </p:txBody>
      </p:sp>
      <p:sp>
        <p:nvSpPr>
          <p:cNvPr id="36" name="Rectangle 35"/>
          <p:cNvSpPr/>
          <p:nvPr>
            <p:custDataLst>
              <p:tags r:id="rId36"/>
            </p:custDataLst>
          </p:nvPr>
        </p:nvSpPr>
        <p:spPr bwMode="auto">
          <a:xfrm>
            <a:off x="6775451" y="2552701"/>
            <a:ext cx="944563" cy="28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D74BC5B-6E7C-419A-BE5A-9CD0C5B88408}" type="datetime'''''''''''''''''''''''''''''Sh''''''a''red'''''' ''FT''''F'">
              <a:rPr lang="en-US" sz="1400" smtClean="0">
                <a:solidFill>
                  <a:srgbClr val="53565A">
                    <a:lumMod val="50000"/>
                  </a:srgbClr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Shared FTF</a:t>
            </a:fld>
            <a:endParaRPr lang="en-US" sz="1400" dirty="0">
              <a:solidFill>
                <a:srgbClr val="53565A">
                  <a:lumMod val="50000"/>
                </a:srgbClr>
              </a:solidFill>
              <a:sym typeface="+mn-lt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106778" y="6289718"/>
            <a:ext cx="735142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>
                <a:solidFill>
                  <a:srgbClr val="53565A"/>
                </a:solidFill>
              </a:rPr>
              <a:t>Source: FDA website, Public lawsuits, Internal Analysis</a:t>
            </a:r>
          </a:p>
          <a:p>
            <a:r>
              <a:rPr lang="en-US" sz="1100" dirty="0" smtClean="0">
                <a:solidFill>
                  <a:srgbClr val="53565A"/>
                </a:solidFill>
              </a:rPr>
              <a:t>Note: Total is greater than 44 due to shared FTFs</a:t>
            </a:r>
            <a:endParaRPr lang="en-US" sz="1100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3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321299"/>
              </p:ext>
            </p:ext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20" name="think-cell Slide" r:id="rId36" imgW="0" imgH="0" progId="TCLayout.ActiveDocument.1">
                  <p:embed/>
                </p:oleObj>
              </mc:Choice>
              <mc:Fallback>
                <p:oleObj name="think-cell Slide" r:id="rId3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1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39" name="Title 38"/>
          <p:cNvSpPr>
            <a:spLocks noGrp="1"/>
          </p:cNvSpPr>
          <p:nvPr>
            <p:ph type="title"/>
          </p:nvPr>
        </p:nvSpPr>
        <p:spPr>
          <a:xfrm>
            <a:off x="1783885" y="431604"/>
            <a:ext cx="6931348" cy="550333"/>
          </a:xfrm>
        </p:spPr>
        <p:txBody>
          <a:bodyPr anchor="ctr">
            <a:noAutofit/>
          </a:bodyPr>
          <a:lstStyle/>
          <a:p>
            <a:r>
              <a:rPr lang="en-US" sz="2200" dirty="0" smtClean="0"/>
              <a:t>Actavis achieved 41% of all FTFs and 61% of the FTF $</a:t>
            </a:r>
            <a:br>
              <a:rPr lang="en-US" sz="2200" dirty="0" smtClean="0"/>
            </a:br>
            <a:r>
              <a:rPr lang="en-US" sz="2200" dirty="0" smtClean="0"/>
              <a:t>Competing against 100+ Gx companies</a:t>
            </a:r>
            <a:endParaRPr lang="en-US" sz="2200" dirty="0"/>
          </a:p>
        </p:txBody>
      </p:sp>
      <p:cxnSp>
        <p:nvCxnSpPr>
          <p:cNvPr id="93" name="Straight Connector 92"/>
          <p:cNvCxnSpPr/>
          <p:nvPr>
            <p:custDataLst>
              <p:tags r:id="rId4"/>
            </p:custDataLst>
          </p:nvPr>
        </p:nvCxnSpPr>
        <p:spPr bwMode="auto">
          <a:xfrm>
            <a:off x="3448050" y="4178300"/>
            <a:ext cx="4953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/>
          <p:nvPr>
            <p:custDataLst>
              <p:tags r:id="rId5"/>
            </p:custDataLst>
          </p:nvPr>
        </p:nvCxnSpPr>
        <p:spPr bwMode="auto">
          <a:xfrm>
            <a:off x="2324100" y="2108200"/>
            <a:ext cx="4953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95" name="Object 94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33843098"/>
              </p:ext>
            </p:extLst>
          </p:nvPr>
        </p:nvGraphicFramePr>
        <p:xfrm>
          <a:off x="1333500" y="1930401"/>
          <a:ext cx="3581306" cy="3822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21" name="Chart" r:id="rId37" imgW="3581306" imgH="2866965" progId="MSGraph.Chart.8">
                  <p:embed followColorScheme="full"/>
                </p:oleObj>
              </mc:Choice>
              <mc:Fallback>
                <p:oleObj name="Chart" r:id="rId37" imgW="3581306" imgH="286696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333500" y="1930401"/>
                        <a:ext cx="3581306" cy="3822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6" name="Rectangle 95"/>
          <p:cNvSpPr/>
          <p:nvPr>
            <p:custDataLst>
              <p:tags r:id="rId7"/>
            </p:custDataLst>
          </p:nvPr>
        </p:nvSpPr>
        <p:spPr bwMode="auto">
          <a:xfrm>
            <a:off x="3932238" y="5829301"/>
            <a:ext cx="642938" cy="28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5E8028A-12E2-4B9C-8D13-50D1B4F028FD}" type="datetime'''''''''A''cta''''v''''''''''''''''''''''i''''''''s'''''''''">
              <a:rPr lang="en-US" sz="1400" b="1">
                <a:solidFill>
                  <a:srgbClr val="53565A">
                    <a:lumMod val="50000"/>
                  </a:srgb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ctavis</a:t>
            </a:fld>
            <a:endParaRPr lang="en-US" sz="1400" b="1" dirty="0">
              <a:solidFill>
                <a:srgbClr val="53565A">
                  <a:lumMod val="50000"/>
                </a:srgbClr>
              </a:solidFill>
              <a:sym typeface="+mn-lt"/>
            </a:endParaRPr>
          </a:p>
        </p:txBody>
      </p:sp>
      <p:sp>
        <p:nvSpPr>
          <p:cNvPr id="6" name="Rectangle 5"/>
          <p:cNvSpPr/>
          <p:nvPr>
            <p:custDataLst>
              <p:tags r:id="rId8"/>
            </p:custDataLst>
          </p:nvPr>
        </p:nvSpPr>
        <p:spPr bwMode="gray">
          <a:xfrm>
            <a:off x="4129088" y="4995334"/>
            <a:ext cx="247650" cy="28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362673B-D439-4EA3-AB8F-F463137BAB0A}" type="datetime'''''''''''''''''12'''''">
              <a:rPr lang="en-US" sz="1400">
                <a:solidFill>
                  <a:srgbClr val="FFFFFF"/>
                </a:solidFill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en-US" sz="1400">
              <a:solidFill>
                <a:srgbClr val="FFFFFF"/>
              </a:solidFill>
              <a:sym typeface="Arial"/>
            </a:endParaRPr>
          </a:p>
        </p:txBody>
      </p:sp>
      <p:sp>
        <p:nvSpPr>
          <p:cNvPr id="98" name="Rectangle 97"/>
          <p:cNvSpPr/>
          <p:nvPr>
            <p:custDataLst>
              <p:tags r:id="rId9"/>
            </p:custDataLst>
          </p:nvPr>
        </p:nvSpPr>
        <p:spPr bwMode="gray">
          <a:xfrm>
            <a:off x="4178301" y="4277785"/>
            <a:ext cx="149225" cy="28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FFFFFF"/>
                </a:solidFill>
                <a:sym typeface="Arial"/>
              </a:rPr>
              <a:t>6</a:t>
            </a:r>
            <a:endParaRPr lang="en-US" sz="1400" b="1" dirty="0">
              <a:solidFill>
                <a:srgbClr val="FFFFFF"/>
              </a:solidFill>
              <a:sym typeface="Arial"/>
            </a:endParaRPr>
          </a:p>
        </p:txBody>
      </p:sp>
      <p:sp>
        <p:nvSpPr>
          <p:cNvPr id="99" name="Rectangle 98"/>
          <p:cNvSpPr/>
          <p:nvPr>
            <p:custDataLst>
              <p:tags r:id="rId10"/>
            </p:custDataLst>
          </p:nvPr>
        </p:nvSpPr>
        <p:spPr bwMode="auto">
          <a:xfrm>
            <a:off x="2841625" y="5829301"/>
            <a:ext cx="584200" cy="28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ED04E03-5D62-48C6-9A27-95FE4DFE883C}" type="datetime'''''O''t''he''''''''''''''''''''''''''r''''''''''s'''''''">
              <a:rPr lang="en-US" sz="1400" b="1">
                <a:solidFill>
                  <a:srgbClr val="53565A">
                    <a:lumMod val="50000"/>
                  </a:srgb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Others</a:t>
            </a:fld>
            <a:endParaRPr lang="en-US" sz="1400" b="1" dirty="0">
              <a:solidFill>
                <a:srgbClr val="53565A">
                  <a:lumMod val="50000"/>
                </a:srgbClr>
              </a:solidFill>
              <a:sym typeface="+mn-lt"/>
            </a:endParaRPr>
          </a:p>
        </p:txBody>
      </p:sp>
      <p:sp>
        <p:nvSpPr>
          <p:cNvPr id="9" name="Rectangle 8"/>
          <p:cNvSpPr/>
          <p:nvPr>
            <p:custDataLst>
              <p:tags r:id="rId11"/>
            </p:custDataLst>
          </p:nvPr>
        </p:nvSpPr>
        <p:spPr bwMode="gray">
          <a:xfrm>
            <a:off x="3009900" y="3001434"/>
            <a:ext cx="247650" cy="28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8629F68-43BE-4139-9428-03A4B5BEA6E3}" type="datetime'2''''''''''''''''''''''6'''''''''''''''''">
              <a:rPr lang="en-US" sz="1400">
                <a:solidFill>
                  <a:srgbClr val="FFFFFF"/>
                </a:solidFill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en-US" sz="1400" dirty="0">
              <a:solidFill>
                <a:srgbClr val="FFFFFF"/>
              </a:solidFill>
              <a:sym typeface="Arial"/>
            </a:endParaRPr>
          </a:p>
        </p:txBody>
      </p:sp>
      <p:sp>
        <p:nvSpPr>
          <p:cNvPr id="101" name="Rectangle 100"/>
          <p:cNvSpPr/>
          <p:nvPr>
            <p:custDataLst>
              <p:tags r:id="rId12"/>
            </p:custDataLst>
          </p:nvPr>
        </p:nvSpPr>
        <p:spPr bwMode="auto">
          <a:xfrm>
            <a:off x="1797051" y="5829301"/>
            <a:ext cx="434975" cy="28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1F9D91B-0A56-4D00-9F69-3561BBB88808}" type="datetime'T''''''''''''''''o''''''t''''''''''''a''''''l'''''''''''''">
              <a:rPr lang="en-US" sz="1400" b="1">
                <a:solidFill>
                  <a:srgbClr val="53565A">
                    <a:lumMod val="50000"/>
                  </a:srgb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Total</a:t>
            </a:fld>
            <a:endParaRPr lang="en-US" sz="1400" b="1" dirty="0">
              <a:solidFill>
                <a:srgbClr val="53565A">
                  <a:lumMod val="50000"/>
                </a:srgbClr>
              </a:solidFill>
              <a:sym typeface="+mn-lt"/>
            </a:endParaRPr>
          </a:p>
        </p:txBody>
      </p:sp>
      <p:sp>
        <p:nvSpPr>
          <p:cNvPr id="11" name="Rectangle 10"/>
          <p:cNvSpPr/>
          <p:nvPr>
            <p:custDataLst>
              <p:tags r:id="rId13"/>
            </p:custDataLst>
          </p:nvPr>
        </p:nvSpPr>
        <p:spPr bwMode="gray">
          <a:xfrm>
            <a:off x="1890713" y="3718985"/>
            <a:ext cx="247650" cy="28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875B8FC-1E16-422A-8C8C-EE916A58EAF2}" type="datetime'''''''''''''''''''''4''''''''''''''''''''''''''''''4'">
              <a:rPr lang="en-US" sz="1400">
                <a:solidFill>
                  <a:srgbClr val="FFFFFF"/>
                </a:solidFill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4</a:t>
            </a:fld>
            <a:endParaRPr lang="en-US" sz="1400">
              <a:solidFill>
                <a:srgbClr val="FFFFFF"/>
              </a:solidFill>
              <a:sym typeface="Arial"/>
            </a:endParaRPr>
          </a:p>
        </p:txBody>
      </p:sp>
      <p:cxnSp>
        <p:nvCxnSpPr>
          <p:cNvPr id="103" name="Straight Connector 102"/>
          <p:cNvCxnSpPr/>
          <p:nvPr>
            <p:custDataLst>
              <p:tags r:id="rId14"/>
            </p:custDataLst>
          </p:nvPr>
        </p:nvCxnSpPr>
        <p:spPr bwMode="auto">
          <a:xfrm>
            <a:off x="3448050" y="4178300"/>
            <a:ext cx="4953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4" name="TextBox 103"/>
          <p:cNvSpPr txBox="1"/>
          <p:nvPr/>
        </p:nvSpPr>
        <p:spPr>
          <a:xfrm>
            <a:off x="3967163" y="3695401"/>
            <a:ext cx="6143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53565A"/>
                </a:solidFill>
              </a:rPr>
              <a:t>41%</a:t>
            </a:r>
            <a:endParaRPr lang="en-US" sz="1600" b="1" dirty="0">
              <a:solidFill>
                <a:srgbClr val="53565A"/>
              </a:solidFill>
            </a:endParaRPr>
          </a:p>
        </p:txBody>
      </p:sp>
      <p:sp>
        <p:nvSpPr>
          <p:cNvPr id="125" name="Rectangle 124"/>
          <p:cNvSpPr/>
          <p:nvPr>
            <p:custDataLst>
              <p:tags r:id="rId15"/>
            </p:custDataLst>
          </p:nvPr>
        </p:nvSpPr>
        <p:spPr bwMode="auto">
          <a:xfrm>
            <a:off x="3708401" y="2182285"/>
            <a:ext cx="250825" cy="2497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>
            <p:custDataLst>
              <p:tags r:id="rId16"/>
            </p:custDataLst>
          </p:nvPr>
        </p:nvSpPr>
        <p:spPr bwMode="auto">
          <a:xfrm>
            <a:off x="3708401" y="2533651"/>
            <a:ext cx="250825" cy="249767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Rectangle 1"/>
          <p:cNvSpPr/>
          <p:nvPr>
            <p:custDataLst>
              <p:tags r:id="rId17"/>
            </p:custDataLst>
          </p:nvPr>
        </p:nvSpPr>
        <p:spPr bwMode="auto">
          <a:xfrm>
            <a:off x="4010025" y="2527301"/>
            <a:ext cx="750888" cy="28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994806F-78C9-4376-9210-DF32A040B28A}" type="datetime'E''''''xc''''''''''''lu''s''''''''i''''''''''''v''e'''''''''">
              <a:rPr lang="en-US" sz="1400">
                <a:solidFill>
                  <a:srgbClr val="53565A">
                    <a:lumMod val="50000"/>
                  </a:srgbClr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Exclusive</a:t>
            </a:fld>
            <a:endParaRPr lang="en-US" sz="1400" dirty="0">
              <a:solidFill>
                <a:srgbClr val="53565A">
                  <a:lumMod val="50000"/>
                </a:srgbClr>
              </a:solidFill>
              <a:sym typeface="+mn-lt"/>
            </a:endParaRPr>
          </a:p>
        </p:txBody>
      </p:sp>
      <p:sp>
        <p:nvSpPr>
          <p:cNvPr id="127" name="Rectangle 126"/>
          <p:cNvSpPr/>
          <p:nvPr>
            <p:custDataLst>
              <p:tags r:id="rId18"/>
            </p:custDataLst>
          </p:nvPr>
        </p:nvSpPr>
        <p:spPr bwMode="auto">
          <a:xfrm>
            <a:off x="4010025" y="2175934"/>
            <a:ext cx="571500" cy="28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AB8B8C4-C44F-4C8F-83DC-D81F313B7353}" type="datetime'''''''''''S''h''''''''''''a''''''''r''''''''e''''''''''d'''">
              <a:rPr lang="en-US" sz="1400">
                <a:solidFill>
                  <a:srgbClr val="53565A">
                    <a:lumMod val="50000"/>
                  </a:srgbClr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Shared</a:t>
            </a:fld>
            <a:endParaRPr lang="en-US" sz="1400" dirty="0">
              <a:solidFill>
                <a:srgbClr val="53565A">
                  <a:lumMod val="50000"/>
                </a:srgbClr>
              </a:solidFill>
              <a:sym typeface="+mn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459103" y="6304003"/>
            <a:ext cx="3156633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baseline="30000" dirty="0" smtClean="0">
                <a:solidFill>
                  <a:srgbClr val="53565A"/>
                </a:solidFill>
              </a:rPr>
              <a:t>1</a:t>
            </a:r>
            <a:r>
              <a:rPr lang="en-US" sz="1050" dirty="0" smtClean="0">
                <a:solidFill>
                  <a:srgbClr val="53565A"/>
                </a:solidFill>
              </a:rPr>
              <a:t> First-to-Files posted on the FDA website in 2013</a:t>
            </a:r>
          </a:p>
          <a:p>
            <a:r>
              <a:rPr lang="en-US" sz="1050" baseline="30000" dirty="0">
                <a:solidFill>
                  <a:srgbClr val="53565A"/>
                </a:solidFill>
              </a:rPr>
              <a:t>2</a:t>
            </a:r>
            <a:r>
              <a:rPr lang="en-US" sz="1050" dirty="0" smtClean="0">
                <a:solidFill>
                  <a:srgbClr val="53565A"/>
                </a:solidFill>
              </a:rPr>
              <a:t> IMS Health Sales MAT Nov. 2013, $ in Billions</a:t>
            </a:r>
            <a:endParaRPr lang="en-US" sz="1050" dirty="0">
              <a:solidFill>
                <a:srgbClr val="53565A"/>
              </a:solidFill>
            </a:endParaRPr>
          </a:p>
        </p:txBody>
      </p:sp>
      <p:cxnSp>
        <p:nvCxnSpPr>
          <p:cNvPr id="52" name="Straight Connector 51"/>
          <p:cNvCxnSpPr/>
          <p:nvPr>
            <p:custDataLst>
              <p:tags r:id="rId19"/>
            </p:custDataLst>
          </p:nvPr>
        </p:nvCxnSpPr>
        <p:spPr bwMode="auto">
          <a:xfrm>
            <a:off x="7486650" y="3479800"/>
            <a:ext cx="4953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20"/>
            </p:custDataLst>
          </p:nvPr>
        </p:nvCxnSpPr>
        <p:spPr bwMode="auto">
          <a:xfrm>
            <a:off x="6362700" y="2108200"/>
            <a:ext cx="4953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54" name="Object 53"/>
          <p:cNvGraphicFramePr>
            <a:graphicFrameLocks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462000175"/>
              </p:ext>
            </p:extLst>
          </p:nvPr>
        </p:nvGraphicFramePr>
        <p:xfrm>
          <a:off x="5372100" y="1930401"/>
          <a:ext cx="3581306" cy="3822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22" name="Chart" r:id="rId39" imgW="3581306" imgH="2866965" progId="MSGraph.Chart.8">
                  <p:embed followColorScheme="full"/>
                </p:oleObj>
              </mc:Choice>
              <mc:Fallback>
                <p:oleObj name="Chart" r:id="rId39" imgW="3581306" imgH="286696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5372100" y="1930401"/>
                        <a:ext cx="3581306" cy="3822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>
            <p:custDataLst>
              <p:tags r:id="rId22"/>
            </p:custDataLst>
          </p:nvPr>
        </p:nvSpPr>
        <p:spPr bwMode="auto">
          <a:xfrm>
            <a:off x="7970838" y="5829301"/>
            <a:ext cx="642938" cy="28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1246EFF-8872-4AA7-AD8D-EAE655A92567}" type="datetime'''''''A''c''''t''a''''v''i''''''''''''''''s'''''''''">
              <a:rPr lang="en-US" sz="1400" b="1">
                <a:solidFill>
                  <a:srgbClr val="53565A">
                    <a:lumMod val="50000"/>
                  </a:srgb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Actavis</a:t>
            </a:fld>
            <a:endParaRPr lang="en-US" sz="1400" b="1" dirty="0">
              <a:solidFill>
                <a:srgbClr val="53565A">
                  <a:lumMod val="50000"/>
                </a:srgbClr>
              </a:solidFill>
              <a:sym typeface="+mn-lt"/>
            </a:endParaRPr>
          </a:p>
        </p:txBody>
      </p:sp>
      <p:sp>
        <p:nvSpPr>
          <p:cNvPr id="22" name="Rectangle 21"/>
          <p:cNvSpPr/>
          <p:nvPr>
            <p:custDataLst>
              <p:tags r:id="rId23"/>
            </p:custDataLst>
          </p:nvPr>
        </p:nvSpPr>
        <p:spPr bwMode="gray">
          <a:xfrm>
            <a:off x="8143876" y="4671485"/>
            <a:ext cx="296863" cy="28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BD1ED64-DE7A-49A5-9F31-21A31A5EE704}" type="datetime'''''2''''''''''''''''''''''''.''''''''''''''''9'''''''">
              <a:rPr lang="en-US" sz="1400">
                <a:solidFill>
                  <a:srgbClr val="FFFFFF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.9</a:t>
            </a:fld>
            <a:endParaRPr lang="en-US" sz="14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23" name="Rectangle 22"/>
          <p:cNvSpPr/>
          <p:nvPr>
            <p:custDataLst>
              <p:tags r:id="rId24"/>
            </p:custDataLst>
          </p:nvPr>
        </p:nvSpPr>
        <p:spPr bwMode="gray">
          <a:xfrm>
            <a:off x="8143876" y="3604685"/>
            <a:ext cx="296863" cy="28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35AF1A8-CAC6-4CDC-BEAF-FB6C0C50F4F9}" type="datetime'''0''''''''''''''.''''9'''''''''''''''">
              <a:rPr lang="en-US" sz="1400">
                <a:solidFill>
                  <a:srgbClr val="FFFFFF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.9</a:t>
            </a:fld>
            <a:endParaRPr lang="en-US" sz="1400" dirty="0">
              <a:solidFill>
                <a:srgbClr val="FFFFFF"/>
              </a:solidFill>
              <a:sym typeface="+mn-lt"/>
            </a:endParaRPr>
          </a:p>
        </p:txBody>
      </p:sp>
      <p:sp>
        <p:nvSpPr>
          <p:cNvPr id="57" name="Rectangle 56"/>
          <p:cNvSpPr/>
          <p:nvPr>
            <p:custDataLst>
              <p:tags r:id="rId25"/>
            </p:custDataLst>
          </p:nvPr>
        </p:nvSpPr>
        <p:spPr bwMode="auto">
          <a:xfrm>
            <a:off x="6880225" y="5829301"/>
            <a:ext cx="584200" cy="28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1EEAEFC-96BF-4265-8E92-2D46DEB1147E}" type="datetime'''O''''th''''''''''''er''''''''''''''''''''''''''''s'''''">
              <a:rPr lang="en-US" sz="1400" b="1">
                <a:solidFill>
                  <a:srgbClr val="53565A">
                    <a:lumMod val="50000"/>
                  </a:srgb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Others</a:t>
            </a:fld>
            <a:endParaRPr lang="en-US" sz="1400" b="1" dirty="0">
              <a:solidFill>
                <a:srgbClr val="53565A">
                  <a:lumMod val="50000"/>
                </a:srgbClr>
              </a:solidFill>
              <a:sym typeface="+mn-lt"/>
            </a:endParaRPr>
          </a:p>
        </p:txBody>
      </p:sp>
      <p:sp>
        <p:nvSpPr>
          <p:cNvPr id="21" name="Rectangle 20"/>
          <p:cNvSpPr/>
          <p:nvPr>
            <p:custDataLst>
              <p:tags r:id="rId26"/>
            </p:custDataLst>
          </p:nvPr>
        </p:nvSpPr>
        <p:spPr bwMode="gray">
          <a:xfrm>
            <a:off x="7024689" y="2652185"/>
            <a:ext cx="296863" cy="28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D53CEF8-AA4C-43ED-8516-622F0ACE1148}" type="datetime'''''''''''''2''''''.''5'''''''''''''''''''">
              <a:rPr lang="en-US" sz="1400">
                <a:solidFill>
                  <a:srgbClr val="FFFFFF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.5</a:t>
            </a:fld>
            <a:endParaRPr lang="en-US" sz="1400">
              <a:solidFill>
                <a:srgbClr val="FFFFFF"/>
              </a:solidFill>
              <a:sym typeface="+mn-lt"/>
            </a:endParaRPr>
          </a:p>
        </p:txBody>
      </p:sp>
      <p:sp>
        <p:nvSpPr>
          <p:cNvPr id="59" name="Rectangle 58"/>
          <p:cNvSpPr/>
          <p:nvPr>
            <p:custDataLst>
              <p:tags r:id="rId27"/>
            </p:custDataLst>
          </p:nvPr>
        </p:nvSpPr>
        <p:spPr bwMode="auto">
          <a:xfrm>
            <a:off x="5835651" y="5829301"/>
            <a:ext cx="434975" cy="28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294EDF9-C7F3-4AD3-9830-0BD5425BE59F}" type="datetime'''To''''''''''''t''''''''''''''a''''''''''''''''''''''''l'''">
              <a:rPr lang="en-US" sz="1400" b="1">
                <a:solidFill>
                  <a:srgbClr val="53565A">
                    <a:lumMod val="50000"/>
                  </a:srgbClr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Total</a:t>
            </a:fld>
            <a:endParaRPr lang="en-US" sz="1400" b="1" dirty="0">
              <a:solidFill>
                <a:srgbClr val="53565A">
                  <a:lumMod val="50000"/>
                </a:srgbClr>
              </a:solidFill>
              <a:sym typeface="+mn-lt"/>
            </a:endParaRPr>
          </a:p>
        </p:txBody>
      </p:sp>
      <p:sp>
        <p:nvSpPr>
          <p:cNvPr id="20" name="Rectangle 19"/>
          <p:cNvSpPr/>
          <p:nvPr>
            <p:custDataLst>
              <p:tags r:id="rId28"/>
            </p:custDataLst>
          </p:nvPr>
        </p:nvSpPr>
        <p:spPr bwMode="gray">
          <a:xfrm>
            <a:off x="5905501" y="3718985"/>
            <a:ext cx="296863" cy="28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4290046-4F02-4049-B26A-D29BF2455912}" type="datetime'''''''6''''''.3'''''''''''''''''''''''''''''''''">
              <a:rPr lang="en-US" sz="1400">
                <a:solidFill>
                  <a:srgbClr val="FFFFFF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.3</a:t>
            </a:fld>
            <a:endParaRPr lang="en-US" sz="1400" dirty="0">
              <a:solidFill>
                <a:srgbClr val="FFFFFF"/>
              </a:solidFill>
              <a:sym typeface="+mn-lt"/>
            </a:endParaRPr>
          </a:p>
        </p:txBody>
      </p:sp>
      <p:cxnSp>
        <p:nvCxnSpPr>
          <p:cNvPr id="62" name="Straight Connector 61"/>
          <p:cNvCxnSpPr/>
          <p:nvPr>
            <p:custDataLst>
              <p:tags r:id="rId29"/>
            </p:custDataLst>
          </p:nvPr>
        </p:nvCxnSpPr>
        <p:spPr bwMode="auto">
          <a:xfrm>
            <a:off x="7486650" y="3479800"/>
            <a:ext cx="4953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>
            <p:custDataLst>
              <p:tags r:id="rId30"/>
            </p:custDataLst>
          </p:nvPr>
        </p:nvSpPr>
        <p:spPr bwMode="auto">
          <a:xfrm>
            <a:off x="7867651" y="2182285"/>
            <a:ext cx="250825" cy="2497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9" name="Rectangle 18"/>
          <p:cNvSpPr/>
          <p:nvPr>
            <p:custDataLst>
              <p:tags r:id="rId31"/>
            </p:custDataLst>
          </p:nvPr>
        </p:nvSpPr>
        <p:spPr bwMode="auto">
          <a:xfrm>
            <a:off x="7867651" y="2533651"/>
            <a:ext cx="250825" cy="249767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Rectangle 14"/>
          <p:cNvSpPr/>
          <p:nvPr>
            <p:custDataLst>
              <p:tags r:id="rId32"/>
            </p:custDataLst>
          </p:nvPr>
        </p:nvSpPr>
        <p:spPr bwMode="auto">
          <a:xfrm>
            <a:off x="8169275" y="2527301"/>
            <a:ext cx="750888" cy="28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BF8390D-3B29-4E42-9119-5A50ED2185CF}" type="datetime'''E''''''x''''cl''''''u''''''''''''''s''i''''''''''ve'''''''">
              <a:rPr lang="en-US" sz="1400">
                <a:solidFill>
                  <a:srgbClr val="53565A">
                    <a:lumMod val="50000"/>
                  </a:srgbClr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Exclusive</a:t>
            </a:fld>
            <a:endParaRPr lang="en-US" sz="1400" dirty="0">
              <a:solidFill>
                <a:srgbClr val="53565A">
                  <a:lumMod val="50000"/>
                </a:srgbClr>
              </a:solidFill>
              <a:sym typeface="+mn-lt"/>
            </a:endParaRPr>
          </a:p>
        </p:txBody>
      </p:sp>
      <p:sp>
        <p:nvSpPr>
          <p:cNvPr id="14" name="Rectangle 13"/>
          <p:cNvSpPr/>
          <p:nvPr>
            <p:custDataLst>
              <p:tags r:id="rId33"/>
            </p:custDataLst>
          </p:nvPr>
        </p:nvSpPr>
        <p:spPr bwMode="auto">
          <a:xfrm>
            <a:off x="8169275" y="2175934"/>
            <a:ext cx="571500" cy="28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B981D3E-A478-4421-A697-1ECCC79545FB}" type="datetime'''''S''h''''a''r''''''''''e''''''''''''''''''''''''d'">
              <a:rPr lang="en-US" sz="1400">
                <a:solidFill>
                  <a:srgbClr val="53565A">
                    <a:lumMod val="50000"/>
                  </a:srgbClr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Shared</a:t>
            </a:fld>
            <a:endParaRPr lang="en-US" sz="1400" dirty="0">
              <a:solidFill>
                <a:srgbClr val="53565A">
                  <a:lumMod val="50000"/>
                </a:srgbClr>
              </a:solidFill>
              <a:sym typeface="+mn-lt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8004324" y="3045935"/>
            <a:ext cx="63182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53565A"/>
                </a:solidFill>
              </a:rPr>
              <a:t>61%</a:t>
            </a:r>
            <a:endParaRPr lang="en-US" sz="1600" b="1" dirty="0">
              <a:solidFill>
                <a:srgbClr val="53565A"/>
              </a:solidFill>
            </a:endParaRPr>
          </a:p>
        </p:txBody>
      </p:sp>
      <p:grpSp>
        <p:nvGrpSpPr>
          <p:cNvPr id="46" name="Group 45"/>
          <p:cNvGrpSpPr/>
          <p:nvPr/>
        </p:nvGrpSpPr>
        <p:grpSpPr>
          <a:xfrm>
            <a:off x="1679945" y="1437442"/>
            <a:ext cx="3260255" cy="384741"/>
            <a:chOff x="825387" y="2362874"/>
            <a:chExt cx="3236816" cy="288556"/>
          </a:xfrm>
        </p:grpSpPr>
        <p:sp>
          <p:nvSpPr>
            <p:cNvPr id="48" name="TextBox 47"/>
            <p:cNvSpPr txBox="1"/>
            <p:nvPr/>
          </p:nvSpPr>
          <p:spPr>
            <a:xfrm>
              <a:off x="825387" y="2362874"/>
              <a:ext cx="3236816" cy="2308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rgbClr val="53565A">
                      <a:lumMod val="50000"/>
                    </a:srgbClr>
                  </a:solidFill>
                </a:rPr>
                <a:t>First-to-File # Products in 2013</a:t>
              </a:r>
              <a:r>
                <a:rPr lang="en-US" sz="1400" b="1" baseline="30000" dirty="0">
                  <a:solidFill>
                    <a:srgbClr val="53565A">
                      <a:lumMod val="50000"/>
                    </a:srgbClr>
                  </a:solidFill>
                </a:rPr>
                <a:t>1</a:t>
              </a:r>
            </a:p>
          </p:txBody>
        </p:sp>
        <p:cxnSp>
          <p:nvCxnSpPr>
            <p:cNvPr id="50" name="Straight Connector 49"/>
            <p:cNvCxnSpPr/>
            <p:nvPr/>
          </p:nvCxnSpPr>
          <p:spPr>
            <a:xfrm>
              <a:off x="825387" y="2651428"/>
              <a:ext cx="3236816" cy="2"/>
            </a:xfrm>
            <a:prstGeom prst="line">
              <a:avLst/>
            </a:prstGeom>
            <a:ln w="19050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oup 50"/>
          <p:cNvGrpSpPr/>
          <p:nvPr/>
        </p:nvGrpSpPr>
        <p:grpSpPr>
          <a:xfrm>
            <a:off x="5645604" y="1437442"/>
            <a:ext cx="3260255" cy="384741"/>
            <a:chOff x="825387" y="2362874"/>
            <a:chExt cx="3236816" cy="288556"/>
          </a:xfrm>
        </p:grpSpPr>
        <p:sp>
          <p:nvSpPr>
            <p:cNvPr id="56" name="TextBox 55"/>
            <p:cNvSpPr txBox="1"/>
            <p:nvPr/>
          </p:nvSpPr>
          <p:spPr>
            <a:xfrm>
              <a:off x="825387" y="2362874"/>
              <a:ext cx="3236816" cy="2308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rgbClr val="53565A">
                      <a:lumMod val="50000"/>
                    </a:srgbClr>
                  </a:solidFill>
                </a:rPr>
                <a:t>Product Sales of FTFs in 2013</a:t>
              </a:r>
              <a:r>
                <a:rPr lang="en-US" sz="1400" b="1" baseline="30000" dirty="0">
                  <a:solidFill>
                    <a:srgbClr val="53565A">
                      <a:lumMod val="50000"/>
                    </a:srgbClr>
                  </a:solidFill>
                </a:rPr>
                <a:t>2</a:t>
              </a:r>
            </a:p>
          </p:txBody>
        </p:sp>
        <p:cxnSp>
          <p:nvCxnSpPr>
            <p:cNvPr id="58" name="Straight Connector 57"/>
            <p:cNvCxnSpPr/>
            <p:nvPr/>
          </p:nvCxnSpPr>
          <p:spPr>
            <a:xfrm>
              <a:off x="825387" y="2651428"/>
              <a:ext cx="3236816" cy="2"/>
            </a:xfrm>
            <a:prstGeom prst="line">
              <a:avLst/>
            </a:prstGeom>
            <a:ln w="19050">
              <a:solidFill>
                <a:schemeClr val="tx1">
                  <a:lumMod val="40000"/>
                  <a:lumOff val="6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18441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2971800"/>
            <a:ext cx="7248665" cy="676815"/>
          </a:xfrm>
        </p:spPr>
        <p:txBody>
          <a:bodyPr/>
          <a:lstStyle/>
          <a:p>
            <a:r>
              <a:rPr lang="en-US" dirty="0" smtClean="0"/>
              <a:t>How do we win in this extremely competitive market?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18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1949317"/>
      </p:ext>
    </p:extLst>
  </p:cSld>
  <p:clrMapOvr>
    <a:masterClrMapping/>
  </p:clrMapOvr>
  <p:transition spd="slow">
    <p:wipe dir="r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-238122"/>
            <a:ext cx="9144000" cy="75438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1200"/>
              </a:spcBef>
            </a:pPr>
            <a:endParaRPr lang="en-US" sz="3200" dirty="0">
              <a:solidFill>
                <a:srgbClr val="00B05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1295400"/>
            <a:ext cx="9144000" cy="18288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2209800" y="1676320"/>
            <a:ext cx="5029200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1200"/>
              </a:spcBef>
            </a:pPr>
            <a:r>
              <a:rPr lang="en-US" sz="2000" dirty="0"/>
              <a:t>We may have all come on different ships,</a:t>
            </a:r>
          </a:p>
          <a:p>
            <a:pPr algn="ctr">
              <a:spcBef>
                <a:spcPts val="1200"/>
              </a:spcBef>
            </a:pPr>
            <a:r>
              <a:rPr lang="en-US" sz="2000" dirty="0"/>
              <a:t>But we’re in the same boat now.</a:t>
            </a:r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3320" y="3543300"/>
            <a:ext cx="1737360" cy="1148168"/>
          </a:xfrm>
        </p:spPr>
      </p:pic>
    </p:spTree>
    <p:extLst>
      <p:ext uri="{BB962C8B-B14F-4D97-AF65-F5344CB8AC3E}">
        <p14:creationId xmlns:p14="http://schemas.microsoft.com/office/powerpoint/2010/main" val="3724947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84482" y="390918"/>
            <a:ext cx="7869237" cy="716067"/>
          </a:xfrm>
        </p:spPr>
        <p:txBody>
          <a:bodyPr/>
          <a:lstStyle/>
          <a:p>
            <a:r>
              <a:rPr lang="en-US" dirty="0" smtClean="0"/>
              <a:t>US Generic Industry Updat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092" y="1126629"/>
            <a:ext cx="8731876" cy="5258660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US" sz="2400" b="1" dirty="0" smtClean="0">
                <a:latin typeface="Arial" pitchFamily="34" charset="0"/>
                <a:cs typeface="Arial" pitchFamily="34" charset="0"/>
              </a:rPr>
              <a:t>Purchasing Power Consolidation</a:t>
            </a:r>
            <a:endParaRPr lang="en-US" sz="2400" b="1" dirty="0"/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800" dirty="0" smtClean="0"/>
              <a:t>Emergence of large GPO’s (WBAD, </a:t>
            </a:r>
            <a:r>
              <a:rPr lang="en-US" sz="1800" dirty="0" err="1" smtClean="0"/>
              <a:t>Econdisc</a:t>
            </a:r>
            <a:r>
              <a:rPr lang="en-US" sz="1800" dirty="0" smtClean="0"/>
              <a:t>, CVS/Cardinal)</a:t>
            </a:r>
            <a:endParaRPr lang="en-US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800" dirty="0" smtClean="0"/>
              <a:t>McKesson/Rite Aid combined procurement</a:t>
            </a: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800" dirty="0" err="1" smtClean="0"/>
              <a:t>Walmart</a:t>
            </a:r>
            <a:r>
              <a:rPr lang="en-US" sz="1800" dirty="0" smtClean="0"/>
              <a:t> evaluating options</a:t>
            </a:r>
          </a:p>
          <a:p>
            <a:pPr>
              <a:spcBef>
                <a:spcPts val="300"/>
              </a:spcBef>
            </a:pPr>
            <a:r>
              <a:rPr lang="en-US" sz="2400" b="1" dirty="0" smtClean="0"/>
              <a:t>Some price erosion offset by marketplace dynamics</a:t>
            </a:r>
          </a:p>
          <a:p>
            <a:pPr marL="342900" indent="-3429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800" dirty="0" smtClean="0"/>
              <a:t>Price increases more prevalent due to supply shortages or low margin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US" sz="2400" b="1" dirty="0" smtClean="0">
                <a:latin typeface="Arial" pitchFamily="34" charset="0"/>
                <a:cs typeface="Arial" pitchFamily="34" charset="0"/>
              </a:rPr>
              <a:t>Supply Chain Disruption</a:t>
            </a:r>
            <a:endParaRPr lang="en-US" sz="2400" b="1" dirty="0"/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800" dirty="0" err="1"/>
              <a:t>Teva</a:t>
            </a:r>
            <a:r>
              <a:rPr lang="en-US" sz="1800" dirty="0"/>
              <a:t>, </a:t>
            </a:r>
            <a:r>
              <a:rPr lang="en-US" sz="1800" dirty="0" err="1"/>
              <a:t>Mylan</a:t>
            </a:r>
            <a:r>
              <a:rPr lang="en-US" sz="1800" dirty="0"/>
              <a:t>, Sandoz improving</a:t>
            </a: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800" dirty="0"/>
              <a:t>Smaller companies </a:t>
            </a:r>
            <a:r>
              <a:rPr lang="en-US" sz="1800" dirty="0" smtClean="0"/>
              <a:t>(Ranbaxy, </a:t>
            </a:r>
            <a:r>
              <a:rPr lang="en-US" sz="1800" dirty="0" err="1" smtClean="0"/>
              <a:t>Wockhardt</a:t>
            </a:r>
            <a:r>
              <a:rPr lang="en-US" sz="1800" dirty="0"/>
              <a:t>, </a:t>
            </a:r>
            <a:r>
              <a:rPr lang="en-US" sz="1800" dirty="0" smtClean="0"/>
              <a:t>Sun, </a:t>
            </a:r>
            <a:r>
              <a:rPr lang="en-US" sz="1800" dirty="0" err="1" smtClean="0"/>
              <a:t>Qualitest</a:t>
            </a:r>
            <a:r>
              <a:rPr lang="en-US" sz="1800" dirty="0"/>
              <a:t>) </a:t>
            </a:r>
            <a:r>
              <a:rPr lang="en-US" sz="1800" dirty="0" smtClean="0"/>
              <a:t>declining</a:t>
            </a: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800" dirty="0" smtClean="0"/>
              <a:t>FDA increased scrutiny of facilities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US" sz="2400" b="1" dirty="0"/>
              <a:t>FDA/Healthcare Reform</a:t>
            </a: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800" dirty="0"/>
              <a:t>ANDA application fees (GDUFA) implemented</a:t>
            </a:r>
          </a:p>
          <a:p>
            <a:pPr lvl="2">
              <a:spcBef>
                <a:spcPts val="300"/>
              </a:spcBef>
              <a:buFont typeface="Arial" panose="020B0604020202020204" pitchFamily="34" charset="0"/>
              <a:buChar char="‒"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Addressing 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global facility compliance &amp; ANDA backlog</a:t>
            </a:r>
            <a:endParaRPr lang="en-US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800" dirty="0">
                <a:latin typeface="Arial" pitchFamily="34" charset="0"/>
                <a:cs typeface="Arial" pitchFamily="34" charset="0"/>
              </a:rPr>
              <a:t>REM’s program requirements more numerous</a:t>
            </a:r>
          </a:p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800" dirty="0" smtClean="0">
                <a:latin typeface="Arial" pitchFamily="34" charset="0"/>
                <a:cs typeface="Arial" pitchFamily="34" charset="0"/>
              </a:rPr>
              <a:t>Pedigree/Serialization requirements still under development</a:t>
            </a:r>
            <a:endParaRPr lang="en-US" sz="18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25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t Starts with Collaboration</a:t>
            </a:r>
            <a:endParaRPr lang="en-US" dirty="0"/>
          </a:p>
        </p:txBody>
      </p:sp>
      <p:pic>
        <p:nvPicPr>
          <p:cNvPr id="19458" name="Picture 2" descr="http://global-integration.s3.amazonaws.com/wp-content/uploads/2008/12/life-in-a-matrix-9-breaking-the-silos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543" y="1921278"/>
            <a:ext cx="5682803" cy="4658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Oval 5"/>
          <p:cNvSpPr/>
          <p:nvPr/>
        </p:nvSpPr>
        <p:spPr>
          <a:xfrm>
            <a:off x="2361807" y="4749800"/>
            <a:ext cx="762000" cy="840026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Oval 7"/>
          <p:cNvSpPr/>
          <p:nvPr/>
        </p:nvSpPr>
        <p:spPr>
          <a:xfrm>
            <a:off x="3575823" y="4623515"/>
            <a:ext cx="901209" cy="96684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5029200" y="4765220"/>
            <a:ext cx="800100" cy="8128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1067683" y="2005238"/>
            <a:ext cx="1377300" cy="7112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dirty="0" smtClean="0">
                <a:solidFill>
                  <a:srgbClr val="000000"/>
                </a:solidFill>
              </a:rPr>
              <a:t> 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028533" y="3841756"/>
            <a:ext cx="1276507" cy="50028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dirty="0" smtClean="0">
                <a:solidFill>
                  <a:srgbClr val="FFFFFF"/>
                </a:solidFill>
              </a:rPr>
              <a:t>ial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438659" y="3850821"/>
            <a:ext cx="1247641" cy="50028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s-IS" dirty="0" smtClean="0">
                <a:solidFill>
                  <a:srgbClr val="FFFFFF"/>
                </a:solidFill>
              </a:rPr>
              <a:t>HR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029200" y="3803876"/>
            <a:ext cx="990600" cy="50028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356960" y="3893380"/>
            <a:ext cx="14157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0000"/>
                </a:solidFill>
              </a:rPr>
              <a:t>Commerc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964138" y="3916299"/>
            <a:ext cx="1474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s-IS" dirty="0" smtClean="0">
                <a:solidFill>
                  <a:srgbClr val="000000"/>
                </a:solidFill>
              </a:rPr>
              <a:t>Operations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029200" y="3881036"/>
            <a:ext cx="11271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s-IS" dirty="0" smtClean="0">
                <a:solidFill>
                  <a:srgbClr val="000000"/>
                </a:solidFill>
              </a:rPr>
              <a:t>Financ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17563" y="1849222"/>
            <a:ext cx="17453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s-IS" dirty="0" smtClean="0">
                <a:solidFill>
                  <a:srgbClr val="000000"/>
                </a:solidFill>
              </a:rPr>
              <a:t>Can you supply us Lorazepam</a:t>
            </a:r>
            <a:r>
              <a:rPr lang="en-US" dirty="0" smtClean="0">
                <a:solidFill>
                  <a:srgbClr val="000000"/>
                </a:solidFill>
              </a:rPr>
              <a:t>?</a:t>
            </a: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9460" name="Picture 4" descr="http://www.imabgroup.net/img/for-posts/no-silos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7425" y="1832825"/>
            <a:ext cx="2590800" cy="2816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3503054" y="4763789"/>
            <a:ext cx="10383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s-IS" sz="1200" dirty="0" smtClean="0">
                <a:solidFill>
                  <a:srgbClr val="000000"/>
                </a:solidFill>
              </a:rPr>
              <a:t>Just Mfg what we forecast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938573" y="4802426"/>
            <a:ext cx="101983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s-IS" sz="1200" dirty="0" smtClean="0">
                <a:solidFill>
                  <a:srgbClr val="000000"/>
                </a:solidFill>
              </a:rPr>
              <a:t>These are</a:t>
            </a:r>
          </a:p>
          <a:p>
            <a:pPr algn="ctr"/>
            <a:r>
              <a:rPr lang="is-IS" sz="1200" dirty="0" smtClean="0">
                <a:solidFill>
                  <a:srgbClr val="000000"/>
                </a:solidFill>
              </a:rPr>
              <a:t>Only special</a:t>
            </a:r>
          </a:p>
          <a:p>
            <a:pPr algn="ctr"/>
            <a:r>
              <a:rPr lang="is-IS" sz="1200" dirty="0" smtClean="0">
                <a:solidFill>
                  <a:srgbClr val="000000"/>
                </a:solidFill>
              </a:rPr>
              <a:t>number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266682" y="4848454"/>
            <a:ext cx="10383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000000"/>
                </a:solidFill>
              </a:rPr>
              <a:t>We will decide what to </a:t>
            </a:r>
            <a:r>
              <a:rPr lang="en-US" sz="1200" dirty="0" err="1" smtClean="0">
                <a:solidFill>
                  <a:srgbClr val="000000"/>
                </a:solidFill>
              </a:rPr>
              <a:t>Mfg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223493" y="3709115"/>
            <a:ext cx="270456" cy="54125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914400" y="3649987"/>
            <a:ext cx="9724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u="sng" dirty="0" smtClean="0">
                <a:solidFill>
                  <a:srgbClr val="FF0000"/>
                </a:solidFill>
              </a:rPr>
              <a:t>WAG’s</a:t>
            </a:r>
            <a:endParaRPr lang="en-US" sz="1600" b="1" u="sng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0313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Strength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Cross functional collaboration both internal and external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sz="2000" dirty="0"/>
              <a:t>Relationships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Integrity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Communication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Transpar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Supply Chain execution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Consistency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Flexibility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Find a way to say “Yes” without jeopardizing existing busin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Product line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One of largest breadth in the industry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Strongest pipeline in the indust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Maximize value of assets</a:t>
            </a:r>
          </a:p>
          <a:p>
            <a:pPr marL="742950" lvl="2" indent="-285750">
              <a:buFont typeface="Arial" panose="020B0604020202020204" pitchFamily="34" charset="0"/>
              <a:buChar char="•"/>
            </a:pPr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21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1665894"/>
      </p:ext>
    </p:extLst>
  </p:cSld>
  <p:clrMapOvr>
    <a:masterClrMapping/>
  </p:clrMapOvr>
  <p:transition spd="slow">
    <p:wipe dir="r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ere does Elizabeth fit in the Puzzle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/>
              <a:t>Consistent Quality and Supply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/>
              <a:t>Competitive COG’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/>
              <a:t>Agile to maximize unforeseen opportunities such as Duloxetine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/>
              <a:t>Continued great communication and collaboration across all functional areas</a:t>
            </a:r>
          </a:p>
          <a:p>
            <a:pPr marL="742950" lvl="2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/>
              <a:t>Commercial</a:t>
            </a:r>
          </a:p>
          <a:p>
            <a:pPr marL="742950" lvl="2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/>
              <a:t>R&amp;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22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59732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lizabeth Sales by Produc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23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  <p:pic>
        <p:nvPicPr>
          <p:cNvPr id="6758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7401" y="1447800"/>
            <a:ext cx="4038599" cy="48746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89974843"/>
      </p:ext>
    </p:extLst>
  </p:cSld>
  <p:clrMapOvr>
    <a:masterClrMapping/>
  </p:clrMapOvr>
  <p:transition spd="slow">
    <p:wipe dir="r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7562" y="2209800"/>
            <a:ext cx="7869237" cy="1905000"/>
          </a:xfrm>
        </p:spPr>
        <p:txBody>
          <a:bodyPr>
            <a:normAutofit/>
          </a:bodyPr>
          <a:lstStyle/>
          <a:p>
            <a:pPr algn="ctr"/>
            <a:r>
              <a:rPr lang="en-US" sz="2800" dirty="0" smtClean="0"/>
              <a:t>Our success is due to your collaboration and support.</a:t>
            </a:r>
            <a:br>
              <a:rPr lang="en-US" sz="2800" dirty="0" smtClean="0"/>
            </a:br>
            <a:r>
              <a:rPr lang="en-US" sz="2800" dirty="0"/>
              <a:t/>
            </a:r>
            <a:br>
              <a:rPr lang="en-US" sz="2800" dirty="0"/>
            </a:br>
            <a:r>
              <a:rPr lang="en-US" sz="2800" dirty="0"/>
              <a:t>Thanks for all your hard </a:t>
            </a:r>
            <a:r>
              <a:rPr lang="en-US" sz="2800" dirty="0" smtClean="0"/>
              <a:t>work!!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24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2577375"/>
      </p:ext>
    </p:extLst>
  </p:cSld>
  <p:clrMapOvr>
    <a:masterClrMapping/>
  </p:clrMapOvr>
  <p:transition spd="slow">
    <p:wipe dir="r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377097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9738" y="242762"/>
            <a:ext cx="7648568" cy="782764"/>
          </a:xfrm>
        </p:spPr>
        <p:txBody>
          <a:bodyPr>
            <a:noAutofit/>
          </a:bodyPr>
          <a:lstStyle/>
          <a:p>
            <a:r>
              <a:rPr lang="en-US" dirty="0"/>
              <a:t>US Pharma</a:t>
            </a:r>
            <a:br>
              <a:rPr lang="en-US" dirty="0"/>
            </a:br>
            <a:r>
              <a:rPr lang="en-US" dirty="0" smtClean="0"/>
              <a:t>2014 Commercial </a:t>
            </a:r>
            <a:r>
              <a:rPr lang="en-US" dirty="0"/>
              <a:t>Upside Opportunities</a:t>
            </a:r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150812" y="6400142"/>
            <a:ext cx="602561" cy="365125"/>
          </a:xfrm>
          <a:prstGeom prst="rect">
            <a:avLst/>
          </a:prstGeom>
        </p:spPr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26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  <p:graphicFrame>
        <p:nvGraphicFramePr>
          <p:cNvPr id="6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94468814"/>
              </p:ext>
            </p:extLst>
          </p:nvPr>
        </p:nvGraphicFramePr>
        <p:xfrm>
          <a:off x="660407" y="1243638"/>
          <a:ext cx="7628468" cy="3048000"/>
        </p:xfrm>
        <a:graphic>
          <a:graphicData uri="http://schemas.openxmlformats.org/drawingml/2006/table">
            <a:tbl>
              <a:tblPr firstRow="1" bandRow="1">
                <a:tableStyleId>{8EC20E35-A176-4012-BC5E-935CFFF8708E}</a:tableStyleId>
              </a:tblPr>
              <a:tblGrid>
                <a:gridCol w="5771053"/>
                <a:gridCol w="1857415"/>
              </a:tblGrid>
              <a:tr h="287969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bg1"/>
                          </a:solidFill>
                        </a:rPr>
                        <a:t>Opportunity</a:t>
                      </a:r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bg1"/>
                          </a:solidFill>
                        </a:rPr>
                        <a:t>Potential GP</a:t>
                      </a:r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316765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kern="120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Delay in Mylan</a:t>
                      </a:r>
                      <a:r>
                        <a:rPr lang="en-US" sz="1600" b="0" i="0" u="none" strike="noStrike" kern="1200" baseline="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 and/or Endo AG Lidocaine launch</a:t>
                      </a:r>
                      <a:endParaRPr lang="en-US" sz="1600" b="0" i="0" u="none" strike="noStrike" dirty="0">
                        <a:solidFill>
                          <a:srgbClr val="53565A"/>
                        </a:solidFill>
                        <a:effectLst/>
                        <a:latin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kern="120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$20M/month</a:t>
                      </a:r>
                      <a:endParaRPr lang="en-US" sz="1600" b="0" i="0" u="none" strike="noStrike" dirty="0">
                        <a:solidFill>
                          <a:srgbClr val="53565A"/>
                        </a:solidFill>
                        <a:effectLst/>
                        <a:latin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6765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kern="120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Oxycodone price increase</a:t>
                      </a:r>
                      <a:endParaRPr lang="en-US" sz="1600" b="0" i="0" u="none" strike="noStrike" dirty="0">
                        <a:effectLst/>
                        <a:latin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kern="120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$10M/month</a:t>
                      </a:r>
                      <a:endParaRPr lang="en-US" sz="1600" b="0" i="0" u="none" strike="noStrike" dirty="0">
                        <a:effectLst/>
                        <a:latin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6765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kern="120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Lower than expected price erosion</a:t>
                      </a:r>
                      <a:endParaRPr lang="en-US" sz="1600" b="0" i="0" u="none" strike="noStrike" dirty="0">
                        <a:effectLst/>
                        <a:latin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kern="120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$40M</a:t>
                      </a:r>
                      <a:endParaRPr lang="en-US" sz="1600" b="0" i="0" u="none" strike="noStrike" dirty="0">
                        <a:effectLst/>
                        <a:latin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5925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kern="120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Reschedule and/or Hydrocodone</a:t>
                      </a:r>
                      <a:r>
                        <a:rPr lang="en-US" sz="1600" b="0" i="0" u="none" strike="noStrike" kern="1200" baseline="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 price increase</a:t>
                      </a:r>
                      <a:endParaRPr lang="en-US" sz="1600" b="0" i="0" u="none" strike="noStrike" dirty="0">
                        <a:effectLst/>
                        <a:latin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kern="120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$</a:t>
                      </a:r>
                      <a:r>
                        <a:rPr lang="en-US" sz="1600" b="0" i="0" u="none" strike="noStrike" kern="1200" dirty="0" smtClean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2M-</a:t>
                      </a:r>
                      <a:r>
                        <a:rPr lang="en-US" sz="1600" b="0" i="0" u="none" strike="noStrike" kern="1200" baseline="0" dirty="0" smtClean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1600" b="0" i="0" u="none" strike="noStrike" kern="1200" dirty="0" smtClean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$5M/month</a:t>
                      </a:r>
                      <a:endParaRPr lang="en-US" sz="1600" b="0" i="0" u="none" strike="noStrike" dirty="0">
                        <a:effectLst/>
                        <a:latin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6765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kern="120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Buprenorphine/Naloxone</a:t>
                      </a:r>
                      <a:r>
                        <a:rPr lang="en-US" sz="1600" b="0" i="0" u="none" strike="noStrike" kern="1200" baseline="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 PBM intervention (30% share)</a:t>
                      </a:r>
                      <a:endParaRPr lang="en-US" sz="1600" b="0" i="0" u="none" strike="noStrike" dirty="0">
                        <a:effectLst/>
                        <a:latin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kern="120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$3-$4M/month</a:t>
                      </a:r>
                      <a:endParaRPr lang="en-US" sz="1600" b="0" i="0" u="none" strike="noStrike" dirty="0">
                        <a:effectLst/>
                        <a:latin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6765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kern="120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Lower than anticipated OC unit/price erosion</a:t>
                      </a:r>
                      <a:endParaRPr lang="en-US" sz="1600" b="0" i="0" u="none" strike="noStrike" dirty="0">
                        <a:effectLst/>
                        <a:latin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kern="120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$20M</a:t>
                      </a:r>
                      <a:endParaRPr lang="en-US" sz="1600" b="0" i="0" u="none" strike="noStrike" dirty="0">
                        <a:effectLst/>
                        <a:latin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6765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kern="120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Earlier</a:t>
                      </a:r>
                      <a:r>
                        <a:rPr lang="en-US" sz="1600" b="0" i="0" u="none" strike="noStrike" kern="1200" baseline="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 launch on Hydromorphone (Exalgo)</a:t>
                      </a:r>
                      <a:endParaRPr lang="en-US" sz="1600" b="0" i="0" u="none" strike="noStrike" dirty="0">
                        <a:effectLst/>
                        <a:latin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kern="120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$3M/month</a:t>
                      </a:r>
                      <a:endParaRPr lang="en-US" sz="1600" b="0" i="0" u="none" strike="noStrike" dirty="0">
                        <a:effectLst/>
                        <a:latin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6765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dirty="0" smtClean="0">
                          <a:effectLst/>
                          <a:latin typeface="Arial"/>
                        </a:rPr>
                        <a:t>Other Price increases</a:t>
                      </a:r>
                      <a:endParaRPr lang="en-US" sz="1600" b="0" i="0" u="none" strike="noStrike" dirty="0">
                        <a:effectLst/>
                        <a:latin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0" u="none" strike="noStrike" dirty="0" smtClean="0">
                          <a:effectLst/>
                          <a:latin typeface="Arial"/>
                        </a:rPr>
                        <a:t>TBD</a:t>
                      </a:r>
                      <a:endParaRPr lang="en-US" sz="1600" b="0" i="0" u="none" strike="noStrike" dirty="0">
                        <a:effectLst/>
                        <a:latin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73699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9738" y="299406"/>
            <a:ext cx="7869237" cy="726120"/>
          </a:xfrm>
        </p:spPr>
        <p:txBody>
          <a:bodyPr>
            <a:noAutofit/>
          </a:bodyPr>
          <a:lstStyle/>
          <a:p>
            <a:r>
              <a:rPr lang="en-US" dirty="0"/>
              <a:t>US Pharma</a:t>
            </a:r>
            <a:br>
              <a:rPr lang="en-US" dirty="0"/>
            </a:br>
            <a:r>
              <a:rPr lang="en-US" dirty="0" smtClean="0"/>
              <a:t>2014 Commercial Downside Risks</a:t>
            </a:r>
            <a:endParaRPr lang="en-US" dirty="0"/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150812" y="6400142"/>
            <a:ext cx="602561" cy="365125"/>
          </a:xfrm>
          <a:prstGeom prst="rect">
            <a:avLst/>
          </a:prstGeom>
        </p:spPr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27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  <p:graphicFrame>
        <p:nvGraphicFramePr>
          <p:cNvPr id="6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36199640"/>
              </p:ext>
            </p:extLst>
          </p:nvPr>
        </p:nvGraphicFramePr>
        <p:xfrm>
          <a:off x="575735" y="1218237"/>
          <a:ext cx="7941737" cy="2560320"/>
        </p:xfrm>
        <a:graphic>
          <a:graphicData uri="http://schemas.openxmlformats.org/drawingml/2006/table">
            <a:tbl>
              <a:tblPr firstRow="1" bandRow="1">
                <a:tableStyleId>{8EC20E35-A176-4012-BC5E-935CFFF8708E}</a:tableStyleId>
              </a:tblPr>
              <a:tblGrid>
                <a:gridCol w="6324604"/>
                <a:gridCol w="1617133"/>
              </a:tblGrid>
              <a:tr h="287969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bg1"/>
                          </a:solidFill>
                        </a:rPr>
                        <a:t>Risk</a:t>
                      </a:r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bg1"/>
                          </a:solidFill>
                        </a:rPr>
                        <a:t>Potential GP</a:t>
                      </a:r>
                      <a:endParaRPr lang="en-US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316765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kern="120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Higher</a:t>
                      </a:r>
                      <a:r>
                        <a:rPr lang="en-US" sz="1800" b="0" i="0" u="none" strike="noStrike" kern="1200" baseline="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 than budgeted price erosion </a:t>
                      </a:r>
                      <a:r>
                        <a:rPr lang="en-US" sz="1800" b="0" i="0" u="none" strike="noStrike" kern="1200" baseline="0" dirty="0" smtClean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(i.e. WBAD/ABC=$60M)</a:t>
                      </a:r>
                      <a:endParaRPr lang="en-US" sz="1800" b="0" i="0" u="none" strike="noStrike" dirty="0">
                        <a:solidFill>
                          <a:srgbClr val="53565A"/>
                        </a:solidFill>
                        <a:effectLst/>
                        <a:latin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kern="120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$40-$80M</a:t>
                      </a:r>
                      <a:endParaRPr lang="en-US" sz="1800" b="0" i="0" u="none" strike="noStrike" dirty="0">
                        <a:solidFill>
                          <a:srgbClr val="53565A"/>
                        </a:solidFill>
                        <a:effectLst/>
                        <a:latin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6765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kern="120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Additional </a:t>
                      </a:r>
                      <a:r>
                        <a:rPr lang="en-US" sz="1800" b="0" i="0" u="none" strike="noStrike" kern="1200" dirty="0" smtClean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Mixed </a:t>
                      </a:r>
                      <a:r>
                        <a:rPr lang="en-US" sz="1800" b="0" i="0" u="none" strike="noStrike" kern="120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Amphetamine </a:t>
                      </a:r>
                      <a:r>
                        <a:rPr lang="en-US" sz="1800" b="0" i="0" u="none" strike="noStrike" kern="1200" dirty="0" smtClean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competition</a:t>
                      </a:r>
                      <a:endParaRPr lang="en-US" sz="1800" b="0" i="0" u="none" strike="noStrike" dirty="0">
                        <a:effectLst/>
                        <a:latin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kern="1200" dirty="0" smtClean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$10M-$15M</a:t>
                      </a:r>
                      <a:endParaRPr lang="en-US" sz="1800" b="0" i="0" u="none" strike="noStrike" dirty="0">
                        <a:effectLst/>
                        <a:latin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6765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kern="120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Additional </a:t>
                      </a:r>
                      <a:r>
                        <a:rPr lang="en-US" sz="1800" b="0" i="0" u="none" strike="noStrike" kern="1200" dirty="0" smtClean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Methylphenidate</a:t>
                      </a:r>
                      <a:r>
                        <a:rPr lang="en-US" sz="1800" b="0" i="0" u="none" strike="noStrike" kern="1200" baseline="0" dirty="0" smtClean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1800" b="0" i="0" u="none" strike="noStrike" kern="1200" dirty="0" smtClean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competition</a:t>
                      </a:r>
                      <a:endParaRPr lang="en-US" sz="1800" b="0" i="0" u="none" strike="noStrike" dirty="0">
                        <a:effectLst/>
                        <a:latin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kern="1200" dirty="0" smtClean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$15M-$20M</a:t>
                      </a:r>
                      <a:endParaRPr lang="en-US" sz="1800" b="0" i="0" u="none" strike="noStrike" dirty="0">
                        <a:effectLst/>
                        <a:latin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6765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kern="120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Additional</a:t>
                      </a:r>
                      <a:r>
                        <a:rPr lang="en-US" sz="1800" b="0" i="0" u="none" strike="noStrike" kern="1200" baseline="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 Buprenorphine/Naloxone competition</a:t>
                      </a:r>
                      <a:endParaRPr lang="en-US" sz="1800" b="0" i="0" u="none" strike="noStrike" dirty="0">
                        <a:effectLst/>
                        <a:latin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kern="120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$15M</a:t>
                      </a:r>
                      <a:endParaRPr lang="en-US" sz="1800" b="0" i="0" u="none" strike="noStrike" dirty="0">
                        <a:effectLst/>
                        <a:latin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5925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kern="1200" dirty="0" err="1" smtClean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Mckesson</a:t>
                      </a:r>
                      <a:r>
                        <a:rPr lang="en-US" sz="1800" b="0" i="0" u="none" strike="noStrike" kern="1200" dirty="0" smtClean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en-US" sz="1800" b="0" i="0" u="none" strike="noStrike" kern="120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combination</a:t>
                      </a:r>
                      <a:r>
                        <a:rPr lang="en-US" sz="1800" b="0" i="0" u="none" strike="noStrike" kern="1200" baseline="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 with</a:t>
                      </a:r>
                      <a:r>
                        <a:rPr lang="en-US" sz="1800" b="0" i="0" u="none" strike="noStrike" kern="120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 retailer</a:t>
                      </a:r>
                      <a:r>
                        <a:rPr lang="en-US" sz="1800" b="0" i="0" u="none" strike="noStrike" kern="1200" baseline="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 for GPO</a:t>
                      </a:r>
                      <a:endParaRPr lang="en-US" sz="1800" b="0" i="0" u="none" strike="noStrike" dirty="0">
                        <a:effectLst/>
                        <a:latin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kern="120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$60-$80M</a:t>
                      </a:r>
                      <a:endParaRPr lang="en-US" sz="1800" b="0" i="0" u="none" strike="noStrike" dirty="0">
                        <a:effectLst/>
                        <a:latin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6765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kern="120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Supply</a:t>
                      </a:r>
                      <a:r>
                        <a:rPr lang="en-US" sz="1800" b="0" i="0" u="none" strike="noStrike" kern="1200" baseline="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 chain risk</a:t>
                      </a:r>
                      <a:endParaRPr lang="en-US" sz="1800" b="0" i="0" u="none" strike="noStrike" dirty="0">
                        <a:effectLst/>
                        <a:latin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rtl="0" eaLnBrk="1" fontAlgn="t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i="0" u="none" strike="noStrike" kern="1200" dirty="0">
                          <a:solidFill>
                            <a:srgbClr val="53565A"/>
                          </a:solidFill>
                          <a:effectLst/>
                          <a:latin typeface="Arial"/>
                        </a:rPr>
                        <a:t>$10-$20M</a:t>
                      </a:r>
                      <a:endParaRPr lang="en-US" sz="1800" b="0" i="0" u="none" strike="noStrike" dirty="0">
                        <a:effectLst/>
                        <a:latin typeface="Arial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77874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7562" y="350196"/>
            <a:ext cx="7869237" cy="963537"/>
          </a:xfrm>
        </p:spPr>
        <p:txBody>
          <a:bodyPr/>
          <a:lstStyle/>
          <a:p>
            <a:r>
              <a:rPr lang="en-US" sz="2800" dirty="0" smtClean="0"/>
              <a:t>Manufacturer Consolidation</a:t>
            </a:r>
            <a:br>
              <a:rPr lang="en-US" sz="2800" dirty="0" smtClean="0"/>
            </a:br>
            <a:r>
              <a:rPr lang="en-US" b="0" dirty="0" smtClean="0"/>
              <a:t>Top 10~57% US$ Generic Share</a:t>
            </a:r>
            <a:endParaRPr lang="en-US" dirty="0"/>
          </a:p>
        </p:txBody>
      </p:sp>
      <p:graphicFrame>
        <p:nvGraphicFramePr>
          <p:cNvPr id="4" name="Object 2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19746040"/>
              </p:ext>
            </p:extLst>
          </p:nvPr>
        </p:nvGraphicFramePr>
        <p:xfrm>
          <a:off x="-812800" y="1824014"/>
          <a:ext cx="10806044" cy="55202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435799" y="1806321"/>
            <a:ext cx="4608286" cy="36933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800" i="0" dirty="0" smtClean="0"/>
              <a:t>Market Share</a:t>
            </a:r>
            <a:endParaRPr lang="en-US" sz="1800" i="0" dirty="0"/>
          </a:p>
        </p:txBody>
      </p:sp>
      <p:sp>
        <p:nvSpPr>
          <p:cNvPr id="6" name="Text Box 29"/>
          <p:cNvSpPr txBox="1">
            <a:spLocks noChangeArrowheads="1"/>
          </p:cNvSpPr>
          <p:nvPr/>
        </p:nvSpPr>
        <p:spPr bwMode="auto">
          <a:xfrm>
            <a:off x="2435799" y="6294440"/>
            <a:ext cx="2333972" cy="2776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pPr eaLnBrk="0" hangingPunct="0">
              <a:lnSpc>
                <a:spcPct val="120000"/>
              </a:lnSpc>
              <a:buClr>
                <a:srgbClr val="FF9933"/>
              </a:buClr>
              <a:buSzPct val="120000"/>
              <a:buFont typeface="Symbol" pitchFamily="18" charset="2"/>
              <a:buNone/>
            </a:pPr>
            <a:r>
              <a:rPr lang="en-US" sz="1000" dirty="0">
                <a:solidFill>
                  <a:schemeClr val="bg1"/>
                </a:solidFill>
                <a:ea typeface="ＭＳ Ｐゴシック"/>
                <a:cs typeface="ＭＳ Ｐゴシック"/>
              </a:rPr>
              <a:t>Source: IMS Health, </a:t>
            </a:r>
            <a:r>
              <a:rPr lang="en-US" sz="1000" dirty="0" smtClean="0">
                <a:solidFill>
                  <a:schemeClr val="bg1"/>
                </a:solidFill>
                <a:ea typeface="ＭＳ Ｐゴシック"/>
                <a:cs typeface="ＭＳ Ｐゴシック"/>
              </a:rPr>
              <a:t>MAT Dec. 2013</a:t>
            </a:r>
            <a:endParaRPr lang="en-US" sz="1000" dirty="0">
              <a:solidFill>
                <a:schemeClr val="bg1"/>
              </a:solidFill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86402452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099" y="254683"/>
            <a:ext cx="8267801" cy="735917"/>
          </a:xfrm>
        </p:spPr>
        <p:txBody>
          <a:bodyPr>
            <a:normAutofit/>
          </a:bodyPr>
          <a:lstStyle/>
          <a:p>
            <a:r>
              <a:rPr lang="en-US" sz="2400" dirty="0" smtClean="0">
                <a:solidFill>
                  <a:srgbClr val="43B02A"/>
                </a:solidFill>
              </a:rPr>
              <a:t>Top Pharmacy Customers in US by estimated Market Share</a:t>
            </a:r>
            <a:endParaRPr lang="en-US" sz="2400" dirty="0">
              <a:solidFill>
                <a:srgbClr val="43B02A"/>
              </a:solidFill>
            </a:endParaRPr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184066174"/>
              </p:ext>
            </p:extLst>
          </p:nvPr>
        </p:nvGraphicFramePr>
        <p:xfrm>
          <a:off x="174228" y="884238"/>
          <a:ext cx="8839994" cy="55602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7" name="Picture 4" descr="walmart_logo.gif Walmart Logo image by eabisbee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667" b="28000"/>
          <a:stretch>
            <a:fillRect/>
          </a:stretch>
        </p:blipFill>
        <p:spPr bwMode="auto">
          <a:xfrm>
            <a:off x="6291096" y="1981200"/>
            <a:ext cx="1143000" cy="388620"/>
          </a:xfrm>
          <a:prstGeom prst="rect">
            <a:avLst/>
          </a:prstGeom>
          <a:noFill/>
        </p:spPr>
      </p:pic>
      <p:pic>
        <p:nvPicPr>
          <p:cNvPr id="8" name="Picture 7" descr="http://www.columbusparent.com/live/export-content/sites/columbusparent/images/2009/03/kroger_new_logo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96926" y="3690023"/>
            <a:ext cx="572762" cy="464346"/>
          </a:xfrm>
          <a:prstGeom prst="rect">
            <a:avLst/>
          </a:prstGeom>
          <a:noFill/>
        </p:spPr>
      </p:pic>
      <p:pic>
        <p:nvPicPr>
          <p:cNvPr id="9" name="Picture 8" descr="riteaid.jpg image by lucky2289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66641" y="3014134"/>
            <a:ext cx="649718" cy="561357"/>
          </a:xfrm>
          <a:prstGeom prst="rect">
            <a:avLst/>
          </a:prstGeom>
          <a:noFill/>
        </p:spPr>
      </p:pic>
      <p:pic>
        <p:nvPicPr>
          <p:cNvPr id="10" name="Picture 16" descr="http://ahrcanum.files.wordpress.com/2010/01/kaiser_permanente.jpg"/>
          <p:cNvPicPr>
            <a:picLocks noChangeAspect="1" noChangeArrowheads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4134" y="4244394"/>
            <a:ext cx="1095232" cy="547616"/>
          </a:xfrm>
          <a:prstGeom prst="rect">
            <a:avLst/>
          </a:prstGeom>
          <a:noFill/>
        </p:spPr>
      </p:pic>
      <p:pic>
        <p:nvPicPr>
          <p:cNvPr id="11" name="Picture 22" descr="http://www.listphile.com/Fortune_500_Logos/AmerisourceBergen/image/029_amerisourcebergen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94560" y="1447800"/>
            <a:ext cx="1249240" cy="346456"/>
          </a:xfrm>
          <a:prstGeom prst="rect">
            <a:avLst/>
          </a:prstGeom>
          <a:noFill/>
        </p:spPr>
      </p:pic>
      <p:pic>
        <p:nvPicPr>
          <p:cNvPr id="12" name="Picture 2" descr="http://www.momsneedtoknow.com/wp-content/uploads/2009/03/walgreens_logo3.jp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69467" y="956188"/>
            <a:ext cx="1198133" cy="433806"/>
          </a:xfrm>
          <a:prstGeom prst="rect">
            <a:avLst/>
          </a:prstGeom>
          <a:noFill/>
        </p:spPr>
      </p:pic>
      <p:pic>
        <p:nvPicPr>
          <p:cNvPr id="13" name="Picture 4" descr="http://www.securingpharma.com/40/articles/275.php?cmd=ShowAsset&amp;assetID=920&amp;nosurround=true&amp;fakeExtension=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471" r="11111" b="23760"/>
          <a:stretch>
            <a:fillRect/>
          </a:stretch>
        </p:blipFill>
        <p:spPr bwMode="auto">
          <a:xfrm>
            <a:off x="7704134" y="1389994"/>
            <a:ext cx="1211266" cy="404262"/>
          </a:xfrm>
          <a:prstGeom prst="rect">
            <a:avLst/>
          </a:prstGeom>
          <a:noFill/>
        </p:spPr>
      </p:pic>
      <p:pic>
        <p:nvPicPr>
          <p:cNvPr id="14" name="Picture 13" descr="Anda Distribution_logo.jp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7495282" y="2007811"/>
            <a:ext cx="1437436" cy="362009"/>
          </a:xfrm>
          <a:prstGeom prst="rect">
            <a:avLst/>
          </a:prstGeom>
        </p:spPr>
      </p:pic>
      <p:pic>
        <p:nvPicPr>
          <p:cNvPr id="15" name="Picture 18" descr="http://www.seeklogo.com/images/C/cvs-logo-18C119A8F9-seeklogo.com.gif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5484" b="38710"/>
          <a:stretch>
            <a:fillRect/>
          </a:stretch>
        </p:blipFill>
        <p:spPr bwMode="auto">
          <a:xfrm>
            <a:off x="7467600" y="956187"/>
            <a:ext cx="1447800" cy="373626"/>
          </a:xfrm>
          <a:prstGeom prst="rect">
            <a:avLst/>
          </a:prstGeom>
          <a:noFill/>
        </p:spPr>
      </p:pic>
      <p:sp>
        <p:nvSpPr>
          <p:cNvPr id="3" name="AutoShape 2" descr="data:image/jpeg;base64,/9j/4AAQSkZJRgABAQAAAQABAAD/2wCEAAkGBxAHEhITExQWFREXGBUYGBcVGRcXExgYGBUXFhcVFxcYHyggGBolHBYXITEhJykrLi4uHB8zODMsOigtLisBCgoKDg0OGxAQGywkHyQsLSwsLCwsLCwsLywsNzQsLDQsLCwsLCwsLCwsLCwsLDQsLCwsLCwsNCwsLCwsLCwsLP/AABEIAHQBsgMBEQACEQEDEQH/xAAcAAEAAwADAQEAAAAAAAAAAAAABQYHAQIEAwj/xABFEAABAgMEBAkICAUFAQAAAAABAAIDBBEFBiExBxJBURMiMjRhcXKBsjNCUnORobHBFSNTYoKSs8IUFmOT0YOi0uHwQ//EABkBAQADAQEAAAAAAAAAAAAAAAADBAUCAf/EAC0RAQACAQMDAwMEAwADAAAAAAABAgMEETESMjMhQXEiUWETFJGhgbHwQlLh/9oADAMBAAIRAxEAPwDcUBAQEBAQEBAQEBAQEBAQEBAQEBAQEBAQEBAQEBAQEBAQEBAQEBAQEBAQEBAQEBAQEBAQEBAQEBAQEBAQEBAQEBAQEBAQEBAQEBAQEBAQEBAQEBAQEBAQEBAQEBAQEBAQEBAQEBAQEBAQEBAQEBAQEBB4LXteBYzNeM/VGwZucdzRtXF8laRvZxfJWkbyoNq6RY8YkQGNht9J/Gf105I6sVRvrLT2xspX1dp7Y2QMW9M/FNTMP/DRo/2gKGc+SfdFOfJPu+kte+flzhHc7oeGuHvFfekajJHuRnyR7rRYukUPIbMsDf6kOpb+JhqR1gnqVnHrPa8LFNX7Whe5eOyZaHscHMcKgg1BHQVdiYmN4XImJjeH0Xr0QEBAQEBAQEBAQEBBn9q6QIsjGiwhBYQx7mglxqdUkVyVG+rmtpjZSvqpraY2fOT0iRpiJDYYDAHPa2us7DWcBXLpXldZMzEbPK6uZmI2aIr68ICAgICAgICDOI2keNDc4cAzAkcp2w03KhOsmJ4UZ1cxPD12JfyLaUeFCMFjQ91CQ4kjAnKnQuseqm1ors6x6qbWiNl8V1cEBBRNId5Isk5svBcWOLdZ7xyqEkBrTsyJJ6lS1Waaz01U9Tmmv01Z9BnYsB2u2I9r/SDiHe2uKoxa0TvEqUWmJ3iWs3Ht51uQDwnlYZ1XEYa1RVrqbK494K09PlnJX15hpYMs3r68rGrCcQEBAQEBAQEBAQEBAQEBBGXhtllhwXRXYnJrdrnHIfMncCo8uSMdd5R5MkUrvLGbTtGLakR0WK7WefYBsa0bAFkXvN53ll3vNp3l5Vy5BjhtQK1R4I9T107yPsGJjV0Bx47N332/eHv9lJ8Oacc/hNhzTjn8NigRmzDWvaQWuAIIyIIqCFqxMTG8NOJ3jeHdevRAQEBAQEBAQEBAQYdeXncz66J4ysbL5LfLIy98/Lz2V5eB62H42rmndHzDyndHzDeVttgQEBAQEBAQEGAzXLf2neIrDtzLGtzKTufz2W7fyKlweSHeHyQ2ta7WEBBmWk6y3wozZgCsN7WtJ9FwqBXdUUp1FZ2spMW6vZn6ukxbq9lJVNVano0st8jAfEeC0xS0tBz1Gg0JHTU91FpaSk1rvPu0NLSa13n3XBW1oQEBAQEBAQEBAQEBAQEBBkukS1DPzRhg8SDxQNmsaF5+A/CsvVX6r7fZm6m/Vfb7Ksqyuu9zLmC0WiPMV4M4sYKguHpOIxDdwGeeWdzT6aLR1W4W8Gn6o6rcNFlZOFJjVhsaxu5rQB7loRWKxtEL0ViPSIee07GlrUFIsNrumlHjqcMQub4637oc3x1tzDK73XZdd94IJdAfyXHMHPUd09O3uWZnwzjn8M7NhnHP4V9QIWl6L7UMeHEl3HGHxmdhxxHc7xLR0d94ms+y/pL7xNfsvCuLYg4c4NzIHWg68K30h7QvN4ebw7Ah2S9euUBB1c8NzIHWg44VvpD2hebw83h2BqvXrlAQYdeXncz66J4ysbL5LfLIy98/Lz2V5eB62H42rmndHzDyndHzDeTgttsIqavHJSpIdMQwRmA4OI6w2pCinNjjmYRzlpHMukG9EjGwExD/ABO1fFRIz45/8oeRmxz7paG8RACCCDkRiPapUrsgICAgIMBmuW/tO8RWHbmWNbmUnc/nst2/kVLg8kO8Pkhta12sICD5xgx4LX6pBGIdShHSDmvJ293k7e6Lg2BZ8B2u2DBDsxgCB0gHAdyjjDjid4iEcYscTvtCXBqpUrlAQcVCBrBBygIOKhA1gg5QEBAQEBAQEGBz0UzESI85ue93tcT81iWne0yxrTvMy72XK/x0aFC2Pexp6i4A+5KV6rRD2leq0Q3djBDAAFAAAAMgBkFtth2QEERe2SE/KR2kYhhe3ocwaw+FO9RZq9WOYRZq9VJhiax2Us2jqOYU8wem2I0/l1/2KzpZ2yQn007ZGurUaYgo2lcVgwPWHwFUtb2x8qes7Y+Waag3BZ20KGzYdHopIQOuL+q9a2l8Uf5/21NN44WNWE4gzHSswGPBP9M+M/5WdrY+qGfrI+qFJ1BuCpbQqbNxuzhJynqIP6bVs4PHX4hr4vHX4hJqVIIMOvLzuZ9dE8ZWNl8lvlkZe+fl4pSN/DvY+ldVzXUyrquBpXZkuInaYlzE7TEpK27yTVtE8I+jPs2YM7x53fVSZM178y7yZrX5RCiRiD22Zaseyna0GI5m8DknracCu6ZLU7ZdUvanbLTLp3yZbNIcQCHH2Ach/Zrkfu/HZo4NRF/SeV/DqIv6TytSsrIgICDAZrlv7TvEVh25ljW5lJ3P57Ldv5FS4PJDvD5IbWtdrCAgzLSs0GPA9WfEs7Wx9UKGs7oUjUG4KltCns2i5IpIy3Z/cVsafxw1cHjhOKZMIMv0kXfEpE/iWNGpEPHwyib/AMXxB3rN1eGIt1xHLP1WLaeqPdSuDG4exU+mPsqbQ1rR9bv0nB4J5+uhADHNzMmu6SMj3b1q6XL112nmGlpsvVXaeYSl6bXFiy74nn8lg3vOXcMT1BSZsnRSZSZcnRXdiThrkk4k4knMk5krGmInlkp65ViC2JloLQYcPjvwwoDxW959wKn0+GL349ITYMfXf8Q2Za7VEBAQEBAQEH5+iZnrPxWHPLFl6bImhJR4MQ5MiMceoOBPuquqW6bRLqlum0S3drg4AjEFbTYcoCCKvTOCRlJh59BzR2nDVb7yFFmt00mUeW3TSZYisdkrLo7gmLPQz6DYjj+Us/eFY0sb5YT6aN8kNeWq0xBRtK3kYHrD4CqWt7Y+VTWdsfLNVnqDYdH3MIHXE/VetXS+KP8ALT03jhYlYTiDM9Kvl4Hq3eJZ+t7oUNZ3QpCpKjcruDVlJUboMH9Nq2cPpjr8Q18XZHxCRUjsQYdeXncz66J4ysbL5LfLIy98/KNUbhy1peQACScABiSdwG1BZZC4s9OAOLWQwftXEO/K0EjqNFYrpck/j5T102Sfw7Ttw56VBIDInRDcdb2ODa91V7bS5I/L22lyR+VZiMMIlrgQ4GhBFCDuIOSrzGyvMbOGuLSCCQQQQRgQRiCDsK8Gw3Kt76cgcby0OjX9Pov76HvBWtp8v6lfXmGngy9dfXmFhU6cQEGAzXLf2neIrDtzLGtzKTufz2W7fyKlweSHeHyQ2ta7WEBBmelXy8D1Z8Sz9b3QoavuhSFSVG0XK5jL9n9xWvp/HDVweOE2pkog81pSLLShPhPFWPFDvG4jpBoR1Lm9YtWay5tWLRtLELUkH2XFfCfymGldhGYcOgihWNek0tNZZN6zWdpfSw7UfY8dkZuOqeMPSaeU3/20Be47zS0Wh7jvNLdUJi/lvttqK1sM1gsaKHe5wBce7BvcVNqcvXbaOISajL129OFYOCrIGw3Fsf6Jlm6wpFicd+8VHFb3D3krV02Pop68y09Pj6KevMrErCcQEBAQEBAQfn6Jmes/FYc8sWXVeC/XKvkyWY2XmTRrcGRDkBsY/dTYd2eVVe0+piI6b/yuYNRER02aFBitjgOa4Oaci0gg9RCvRMTwuxO/D4T9oQbObrxXtY37xz6AMyegLy161je0vLWisbzLK75XnNvODWVbLsNQDm52Wu7dhkOvfhmZ8/6k7Rwzs+b9Sdo4VpV0DSNF1lmEyJMOHL4jOy08Y97sPwrQ0dNomy9pKbRNl7V1cEFG0reRgesPgKpa3tj5VNZ2x8s1WeoNh0fcwgf6n6r1q6XxR/lp6bxwsSsJxBmelXy8D1bvEs/W90KGs7oUhUlRud3+ay3qYX6bVs4uyvxDXx9kfEJBSOxBh15edzPronjKxsvkt8sjL3z8o1RuGo6Prutk4TZiI2saIKtr5jDlTpIxruNN9dLS4YrXqnmWhpsURHVPMrkra0IKpfu7jbThOjMb9fDFcM3tGJad5pl7Nqq6nDF69UcwrajFFo3jmGTrMZyyaP58yU5DFeLEBhnvxb36wA7yrGmt05I/KfTW6ckflr61WmICDAZrlv7TvEVh25ljW5lJ3P57Ldv5FS4PJDvD5IbWtdrCAgzPSr5eB6s+JZ+t7oUNX3QpCpKjaLlcxl+z+4rX0/jhq4PHCbUyUQEFN0jWF/HQv4hg+shDjUzdDzP5cT1ayqarF1R1RzH+lXU4uqOqOYZcs1niCwXIsf6XmW6wrCh0e/caHit7z7gVPp8fXf8AEJsGPrv+IbGtZqCAgICAgICAg/P0TM9Z+Kw55Ysuq8BB3hRnQeS5za+iSPgvYmY4ImY4cPcYhqSSd5NT7SvJ9R1QTV17vRLfiUFRCaeO/YB6I3uPuz65sOKclvx7pcWKck/hsktAbKsaxgDWNAAAyAAoAtaIiI2hqRERG0PqvXogo2lbyMD1h8BVLW9sfKprO2Plmqz1BsWj/mED/U/VetbTeKP8/wC2npvHCwqdOIMz0q+Xgerd4ln63uhQ1ndCkKkqNzu6daUlT/RhfptWzi8dfiGvi7I+ISCkdiDD7zCk3M+tieIlY2byW+WRl75+UZSvQN/zUbh+gWNDAAMABQdQW62nZAQEGBTrBCiRGjIPeB1BxAWJb0mWNb0mX3sRxZMy5GfCwv1Gr3H3x8w9x98fMN2W02BAQYDNct/ad4isO3Msa3MpO5/PZbt/IqXB5Id4fJDa1rtYQEGZ6VfLwPVnxLP1vdChq+6FIVJUbRcrmMv2f3Fa+n8cNXB44TamSiAg4Iqgw+8ctCk5mMyEaw2uIHRvaOhpqO5Y2Wta3mK8MjLEReYjhGqNw1fRrAhQ5TWYavc53Cbw4YBvUG0PfXatPSREY94/y0dLEdHotitLIgICAgICAgIPz9EzPWfisOeWLL33dkW2nMwoLyQ15cCW5jiOIIr0gLvFWLXisu8VYteIlO2po/m5Ukwi2MzZQhj+8Ow9h7lNfSXjt9U19LeOPVBxbAnIRoZeL3McR7QKKGcV49pQzivHtL6S12Z6ZNGy8T8Q1B7X0XsYMk8Q9jDkn2WixdHTiQ6ZeAPs4ZqT0Ofs7varOPRzzeVimk/91/k5SHIsDIbQxgyAwH/Z6VerWKxtC7WsVjaH2Xr0QEFL0pwS+WhO9GKK9RY4fGiqayPoifyq6uPoifyzBZrPaxo2m2x5MMHKhueCO04vB6uN7itTSW3x7fZo6W29NvstasrIgyzSfNNjTTGDOHDAd0FxLqezVPes3WW3vt9mdq7b32+ynk0VRVbtYsAy0vAYc2wobT3MA+S2scdNIj8NikbViPw9q7diDINIMmZSdiHzYga8ezVPvafasrVV2yT+WZqa7ZJ/KtkVVdXbVdO122xLQ3147QGxBtDwMT1HPvWxhyddIlrYcnXWJTKlSiCMvHazbGgPinOlGD0nnkj5noBUeXJFKzKPLeKV3YgTXPNYzJTFz5Qzk5Lt2B4eepnG+IA71Ngr1ZIS4K75IbUtdqiAgwGa5b+07xFYduZY1uZSdz+ey3b+RUuDyQ7w+SG1rXawgIMz0q+XgerPiWfre6FDV90KQqSo2i5XMZfs/uK19P44auDxwm1MlEBBD3stgWLLPiDyh4sPtnI92J7lFmydFN0WbJ0V3YqTXpPTmsdlOEFkuNbv0NHo40gxKNduafNf3Voeg9CsafL0W9eJT6fJ0W9eJa+tVpiAgICAgICAg/P0TM9Z+Kw55Yspq5PPpbtO/TcpdP5apcHkhs612qICAgICAgII68Nm/S8vFg7XDik7HDFp9oCjy066TVxkp11mGHxGGES1wIcCQQcwQaEHpqsZkcJG79txbCi8JDxBwcw8lw3Hcdx2e0KTFlnHO8O8eScc7w0iSv7IzDavc6G7a1zXH2FgIK0K6rHPPov11OOefR4ba0hQILSJcGJE2OcC2GOmhoXdVB1rjJq6xH0+suL6qsR9PqzaYjumXOe8lz3Ekk5klZ8zMzvKhMzM7ylLqWSbYmYbKVYDrv3ajTUg9ZoO9SYcfXeISYadd4hta2GsICCraQLDNqwNdgrFhVcAM3NPLaN5wBHVTaq2pxddd45hX1OPrrvHMMlWWzUhYtsRrFicJCNDk5pxY4bnD55hSY8lqTvDumS1J3hoEhpFlooHCsfDdtoNdvcRj7lerrKT3ei7XV1nn0czukSVhA8G2JEdsw1G95OPuS2spHHqW1dI49VBt23I9uP14pwHJYMGNHQNp3k/9Kjky2yTvKlkyWvO8oxRuGlaM7FMsx0y8UdEGqyuYZWpd+IgdwG9aGkxbR1z7r+lx7R1T7ryrq2ICDAZrlv7TvEVh25ljW5lJ3P57Ldv5FS4PJDvD5IbWtdrCAgzPSr5eB6s+JZ+t7oUNX3QpCpKjaLlcxl+z+4rX0/jhq4PHCbUyUQEGS6QbY+kpng2n6uDVo3F/nn3Bvcd6y9Vk6r7RxDN1OTqttHEKsqyust4LqRLIl4EbEkikUeg5xq3ux1T0gb1Yy4JpSLfynyYJpWLfyrSroGsaPrd+k4PBPNYsIAY5uZk13SRke7etPS5equ08w0dNl6q7TzC1q0siCPNtyodq8MytdXlDV1q01dbLWrhStVx+pT7uP1KfdILt2ICAgIPz9EzPWfisOeWLKauTz6W7Tv03KXT+WqXB5IbOtdqiAgICAgICAgpF+LoG0CZiAPrfPZ6dPOb97o29edPUafq+qvKpqMHV9VeWavaWEgggjAgihB3EHIrOUHVAQeyy7MjWs8Q4TS5230Wje47Au6UtedquqUtedoa9diwIdgQtUcaI6he/wBI7ANzRsHXvWphxRjrt7tPFijHGyZUyUQEBBnt87luc50eWbWuL4QzrtcwfFvs3KjqNN69VP4Us+n/APKv8M/IpUHAjAjaDuKoKThAQMkFyuhct8+WxZhpbBGIYcHROsea33n3q3g0029bcLWHTzb1tw1BrQwAAUAwAGQ6FpNBygICDAZrlv7TvEVh25ljW5lJ3P57Ldv5FS4PJDvD5IbWtdrCAgzPSr5eB6s+JZ+t7oUNX3QpCpKjaLlcxl+z+4rX0/jhq4PHCbUyUQQt77Y+hZZ7wfrHcSH2jt7hU9yhz5Oim/uizZOim7Fs1kMpaNH9jfScwHuH1UGjjuL/ADG+7W7hvVnTY+u+88QsabH1W3niGqzkqydY+G8VY4FpHQfmtO1YtG0tG0RaNpYjbllvseM+C7HVyPpNPJd/7bVY2Sk0t0yyclJpbpksO032PGZGb5pxHpNPKb7PeAmO80tFoMd5pbqht0nMsnGMiMNWOAcD0FbNbRaN4a0TExvDwXoeYcrFIJA4ocRgRDL2iI4EZUYXGqjzT9E/96e/9OMvZP8A3yhGw3cMYYAbLcOIYOu8wwwQYbuA4CnB6rgXAOrmd9KxbT1be2+39cbcIdvq29t9v/m3Caus8vlmYktDogYTiTDEV4hGu3iBuO1S4Z3p/wBx7f0lw9n8/wAe39JZSpRAQEFbNxrPP/zd/cif5Vf9ri+39yg/bY/s+8hdGSs+I2LDhkPaag67zmCMiaZEr2unx1neIe1wUrO8QnVOmEBAQEBAQEBAQRdr3elbYxiwwXemOK/8wxPUVHfDS/dCO+Kl+YVyNo3l3HixooG46p+QVedFX2mUE6SvtMvRJ6PJOAavdEidBcGt/wBoB966ro6RzvLqukpHPqtElJQpBoZCY1jNzQAOs7z0qxWsVjaIWK1isbQ+66eiAgICAgiLYu1KWxjEhjX9NvFf3kZ99VFfDS/MIr4aX5hWZjRoxx+rmHNH32B3vBaq06KPaUE6OPaXWBo0aOXMEj7rA0+0uKRovvZ5Gjj3lYrIulJ2UQ5sPWeMnxOM4HeBkD0gKxTT0p6xCemClOITqmTCAgICCuvuTZ7ySYRqSSePE2/iUH7bH9kH7fH9n2kroyUi9sRkMh7TUHXeaHqJova6fHWd4h7XBSs7xCcUyYQEEXa13pW2HNdGZrOaKDjObhWvmkKO+Kl53tCO+Kt/WzwfyPZ/2R/PE/5KP9ri+zj9tj+yckZNkhDbDhijGigFSaDPM4qatYrG0Jq1isbQ+66eiCLtmwJe2ywxg52rXVAc5oFaVNAc8Ao8mKuTuR3xVv3I3+Q7P+zd/cf/AJUf7XF9v7lH+2x/ZM2TZUGx2cHBbqtqScSSSdpJxOQUtMdaRtVLSlaRtV7V27RVs3elrbLTGZUtqAQ5zTQ7DqnEYfHeosmGmTuhHfFW/cjv5Ds/7N39x/8AlcftcX2/uUf7bH9k1ZNmQrIh8HCBDKkgFxdSuJoTkK406SpaUikbVTUpFI2h63NDgQcQdhyXbpF/QECmp9ZwX2XCP4Kno6teT93k9Cj/AEq7be323R/pV229vslGNDAAAABgAMAANgUiRygICAgICAgICAgICAgICAgICAgICAgICAgICAgICAgICAgICAgICAgICAgICAgICAgICAgICAgICAgICAgICAgICAgICAgICAgICAgICAgICAgICAgICAgICAgICAgICAgICAgICAgICAgICAgICAg//9k="/>
          <p:cNvSpPr>
            <a:spLocks noChangeAspect="1" noChangeArrowheads="1"/>
          </p:cNvSpPr>
          <p:nvPr/>
        </p:nvSpPr>
        <p:spPr bwMode="auto">
          <a:xfrm>
            <a:off x="0" y="-3841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AutoShape 4" descr="data:image/jpeg;base64,/9j/4AAQSkZJRgABAQAAAQABAAD/2wCEAAkGBxAHEhITExQWFREXGBUYGBcVGRcXExgYGBUXFhcVFxcYHyggGBolHBYXITEhJykrLi4uHB8zODMsOigtLisBCgoKDg0OGxAQGywkHyQsLSwsLCwsLCwsLywsNzQsLDQsLCwsLCwsLCwsLCwsLDQsLCwsLCwsNCwsLCwsLCwsLP/AABEIAHQBsgMBEQACEQEDEQH/xAAcAAEAAwADAQEAAAAAAAAAAAAABQYHAQIEAwj/xABFEAABAgMEBAkICAUFAQAAAAABAAIDBBEFBiExBxJBURMiMjRhcXKBsjNCUnORobHBFSNTYoKSs8IUFmOT0YOi0uHwQ//EABkBAQADAQEAAAAAAAAAAAAAAAADBAUCAf/EAC0RAQACAQMDAwMEAwADAAAAAAABAgMEETESMjMhQXEiUWETFJGhgbHwQlLh/9oADAMBAAIRAxEAPwDcUBAQEBAQEBAQEBAQEBAQEBAQEBAQEBAQEBAQEBAQEBAQEBAQEBAQEBAQEBAQEBAQEBAQEBAQEBAQEBAQEBAQEBAQEBAQEBAQEBAQEBAQEBAQEBAQEBAQEBAQEBAQEBAQEBAQEBAQEBAQEBAQEBAQEBB4LXteBYzNeM/VGwZucdzRtXF8laRvZxfJWkbyoNq6RY8YkQGNht9J/Gf105I6sVRvrLT2xspX1dp7Y2QMW9M/FNTMP/DRo/2gKGc+SfdFOfJPu+kte+flzhHc7oeGuHvFfekajJHuRnyR7rRYukUPIbMsDf6kOpb+JhqR1gnqVnHrPa8LFNX7Whe5eOyZaHscHMcKgg1BHQVdiYmN4XImJjeH0Xr0QEBAQEBAQEBAQEBBn9q6QIsjGiwhBYQx7mglxqdUkVyVG+rmtpjZSvqpraY2fOT0iRpiJDYYDAHPa2us7DWcBXLpXldZMzEbPK6uZmI2aIr68ICAgICAgICDOI2keNDc4cAzAkcp2w03KhOsmJ4UZ1cxPD12JfyLaUeFCMFjQ91CQ4kjAnKnQuseqm1ors6x6qbWiNl8V1cEBBRNId5Isk5svBcWOLdZ7xyqEkBrTsyJJ6lS1Waaz01U9Tmmv01Z9BnYsB2u2I9r/SDiHe2uKoxa0TvEqUWmJ3iWs3Ht51uQDwnlYZ1XEYa1RVrqbK494K09PlnJX15hpYMs3r68rGrCcQEBAQEBAQEBAQEBAQEBBGXhtllhwXRXYnJrdrnHIfMncCo8uSMdd5R5MkUrvLGbTtGLakR0WK7WefYBsa0bAFkXvN53ll3vNp3l5Vy5BjhtQK1R4I9T107yPsGJjV0Bx47N332/eHv9lJ8Oacc/hNhzTjn8NigRmzDWvaQWuAIIyIIqCFqxMTG8NOJ3jeHdevRAQEBAQEBAQEBAQYdeXncz66J4ysbL5LfLIy98/Lz2V5eB62H42rmndHzDyndHzDeVttgQEBAQEBAQEGAzXLf2neIrDtzLGtzKTufz2W7fyKlweSHeHyQ2ta7WEBBmWk6y3wozZgCsN7WtJ9FwqBXdUUp1FZ2spMW6vZn6ukxbq9lJVNVano0st8jAfEeC0xS0tBz1Gg0JHTU91FpaSk1rvPu0NLSa13n3XBW1oQEBAQEBAQEBAQEBAQEBBkukS1DPzRhg8SDxQNmsaF5+A/CsvVX6r7fZm6m/Vfb7Ksqyuu9zLmC0WiPMV4M4sYKguHpOIxDdwGeeWdzT6aLR1W4W8Gn6o6rcNFlZOFJjVhsaxu5rQB7loRWKxtEL0ViPSIee07GlrUFIsNrumlHjqcMQub4637oc3x1tzDK73XZdd94IJdAfyXHMHPUd09O3uWZnwzjn8M7NhnHP4V9QIWl6L7UMeHEl3HGHxmdhxxHc7xLR0d94ms+y/pL7xNfsvCuLYg4c4NzIHWg68K30h7QvN4ebw7Ah2S9euUBB1c8NzIHWg44VvpD2hebw83h2BqvXrlAQYdeXncz66J4ysbL5LfLIy98/Lz2V5eB62H42rmndHzDyndHzDeTgttsIqavHJSpIdMQwRmA4OI6w2pCinNjjmYRzlpHMukG9EjGwExD/ABO1fFRIz45/8oeRmxz7paG8RACCCDkRiPapUrsgICAgIMBmuW/tO8RWHbmWNbmUnc/nst2/kVLg8kO8Pkhta12sICD5xgx4LX6pBGIdShHSDmvJ293k7e6Lg2BZ8B2u2DBDsxgCB0gHAdyjjDjid4iEcYscTvtCXBqpUrlAQcVCBrBBygIOKhA1gg5QEBAQEBAQEGBz0UzESI85ue93tcT81iWne0yxrTvMy72XK/x0aFC2Pexp6i4A+5KV6rRD2leq0Q3djBDAAFAAAAMgBkFtth2QEERe2SE/KR2kYhhe3ocwaw+FO9RZq9WOYRZq9VJhiax2Us2jqOYU8wem2I0/l1/2KzpZ2yQn007ZGurUaYgo2lcVgwPWHwFUtb2x8qes7Y+Waag3BZ20KGzYdHopIQOuL+q9a2l8Uf5/21NN44WNWE4gzHSswGPBP9M+M/5WdrY+qGfrI+qFJ1BuCpbQqbNxuzhJynqIP6bVs4PHX4hr4vHX4hJqVIIMOvLzuZ9dE8ZWNl8lvlkZe+fl4pSN/DvY+ldVzXUyrquBpXZkuInaYlzE7TEpK27yTVtE8I+jPs2YM7x53fVSZM178y7yZrX5RCiRiD22Zaseyna0GI5m8DknracCu6ZLU7ZdUvanbLTLp3yZbNIcQCHH2Ach/Zrkfu/HZo4NRF/SeV/DqIv6TytSsrIgICDAZrlv7TvEVh25ljW5lJ3P57Ldv5FS4PJDvD5IbWtdrCAgzLSs0GPA9WfEs7Wx9UKGs7oUjUG4KltCns2i5IpIy3Z/cVsafxw1cHjhOKZMIMv0kXfEpE/iWNGpEPHwyib/AMXxB3rN1eGIt1xHLP1WLaeqPdSuDG4exU+mPsqbQ1rR9bv0nB4J5+uhADHNzMmu6SMj3b1q6XL112nmGlpsvVXaeYSl6bXFiy74nn8lg3vOXcMT1BSZsnRSZSZcnRXdiThrkk4k4knMk5krGmInlkp65ViC2JloLQYcPjvwwoDxW959wKn0+GL349ITYMfXf8Q2Za7VEBAQEBAQEH5+iZnrPxWHPLFl6bImhJR4MQ5MiMceoOBPuquqW6bRLqlum0S3drg4AjEFbTYcoCCKvTOCRlJh59BzR2nDVb7yFFmt00mUeW3TSZYisdkrLo7gmLPQz6DYjj+Us/eFY0sb5YT6aN8kNeWq0xBRtK3kYHrD4CqWt7Y+VTWdsfLNVnqDYdH3MIHXE/VetXS+KP8ALT03jhYlYTiDM9Kvl4Hq3eJZ+t7oUNZ3QpCpKjcruDVlJUboMH9Nq2cPpjr8Q18XZHxCRUjsQYdeXncz66J4ysbL5LfLIy98/KNUbhy1peQACScABiSdwG1BZZC4s9OAOLWQwftXEO/K0EjqNFYrpck/j5T102Sfw7Ttw56VBIDInRDcdb2ODa91V7bS5I/L22lyR+VZiMMIlrgQ4GhBFCDuIOSrzGyvMbOGuLSCCQQQQRgQRiCDsK8Gw3Kt76cgcby0OjX9Pov76HvBWtp8v6lfXmGngy9dfXmFhU6cQEGAzXLf2neIrDtzLGtzKTufz2W7fyKlweSHeHyQ2ta7WEBBmelXy8D1Z8Sz9b3QoavuhSFSVG0XK5jL9n9xWvp/HDVweOE2pkog81pSLLShPhPFWPFDvG4jpBoR1Lm9YtWay5tWLRtLELUkH2XFfCfymGldhGYcOgihWNek0tNZZN6zWdpfSw7UfY8dkZuOqeMPSaeU3/20Be47zS0Wh7jvNLdUJi/lvttqK1sM1gsaKHe5wBce7BvcVNqcvXbaOISajL129OFYOCrIGw3Fsf6Jlm6wpFicd+8VHFb3D3krV02Pop68y09Pj6KevMrErCcQEBAQEBAQfn6Jmes/FYc8sWXVeC/XKvkyWY2XmTRrcGRDkBsY/dTYd2eVVe0+piI6b/yuYNRER02aFBitjgOa4Oaci0gg9RCvRMTwuxO/D4T9oQbObrxXtY37xz6AMyegLy161je0vLWisbzLK75XnNvODWVbLsNQDm52Wu7dhkOvfhmZ8/6k7Rwzs+b9Sdo4VpV0DSNF1lmEyJMOHL4jOy08Y97sPwrQ0dNomy9pKbRNl7V1cEFG0reRgesPgKpa3tj5VNZ2x8s1WeoNh0fcwgf6n6r1q6XxR/lp6bxwsSsJxBmelXy8D1bvEs/W90KGs7oUhUlRud3+ay3qYX6bVs4uyvxDXx9kfEJBSOxBh15edzPronjKxsvkt8sjL3z8o1RuGo6Prutk4TZiI2saIKtr5jDlTpIxruNN9dLS4YrXqnmWhpsURHVPMrkra0IKpfu7jbThOjMb9fDFcM3tGJad5pl7Nqq6nDF69UcwrajFFo3jmGTrMZyyaP58yU5DFeLEBhnvxb36wA7yrGmt05I/KfTW6ckflr61WmICDAZrlv7TvEVh25ljW5lJ3P57Ldv5FS4PJDvD5IbWtdrCAgzPSr5eB6s+JZ+t7oUNX3QpCpKjaLlcxl+z+4rX0/jhq4PHCbUyUQEFN0jWF/HQv4hg+shDjUzdDzP5cT1ayqarF1R1RzH+lXU4uqOqOYZcs1niCwXIsf6XmW6wrCh0e/caHit7z7gVPp8fXf8AEJsGPrv+IbGtZqCAgICAgICAg/P0TM9Z+Kw55Ysuq8BB3hRnQeS5za+iSPgvYmY4ImY4cPcYhqSSd5NT7SvJ9R1QTV17vRLfiUFRCaeO/YB6I3uPuz65sOKclvx7pcWKck/hsktAbKsaxgDWNAAAyAAoAtaIiI2hqRERG0PqvXogo2lbyMD1h8BVLW9sfKprO2Plmqz1BsWj/mED/U/VetbTeKP8/wC2npvHCwqdOIMz0q+Xgerd4ln63uhQ1ndCkKkqNzu6daUlT/RhfptWzi8dfiGvi7I+ISCkdiDD7zCk3M+tieIlY2byW+WRl75+UZSvQN/zUbh+gWNDAAMABQdQW62nZAQEGBTrBCiRGjIPeB1BxAWJb0mWNb0mX3sRxZMy5GfCwv1Gr3H3x8w9x98fMN2W02BAQYDNct/ad4isO3Msa3MpO5/PZbt/IqXB5Id4fJDa1rtYQEGZ6VfLwPVnxLP1vdChq+6FIVJUbRcrmMv2f3Fa+n8cNXB44TamSiAg4Iqgw+8ctCk5mMyEaw2uIHRvaOhpqO5Y2Wta3mK8MjLEReYjhGqNw1fRrAhQ5TWYavc53Cbw4YBvUG0PfXatPSREY94/y0dLEdHotitLIgICAgICAgIPz9EzPWfisOeWLL33dkW2nMwoLyQ15cCW5jiOIIr0gLvFWLXisu8VYteIlO2po/m5Ukwi2MzZQhj+8Ow9h7lNfSXjt9U19LeOPVBxbAnIRoZeL3McR7QKKGcV49pQzivHtL6S12Z6ZNGy8T8Q1B7X0XsYMk8Q9jDkn2WixdHTiQ6ZeAPs4ZqT0Ofs7varOPRzzeVimk/91/k5SHIsDIbQxgyAwH/Z6VerWKxtC7WsVjaH2Xr0QEFL0pwS+WhO9GKK9RY4fGiqayPoifyq6uPoifyzBZrPaxo2m2x5MMHKhueCO04vB6uN7itTSW3x7fZo6W29NvstasrIgyzSfNNjTTGDOHDAd0FxLqezVPes3WW3vt9mdq7b32+ynk0VRVbtYsAy0vAYc2wobT3MA+S2scdNIj8NikbViPw9q7diDINIMmZSdiHzYga8ezVPvafasrVV2yT+WZqa7ZJ/KtkVVdXbVdO122xLQ3147QGxBtDwMT1HPvWxhyddIlrYcnXWJTKlSiCMvHazbGgPinOlGD0nnkj5noBUeXJFKzKPLeKV3YgTXPNYzJTFz5Qzk5Lt2B4eepnG+IA71Ngr1ZIS4K75IbUtdqiAgwGa5b+07xFYduZY1uZSdz+ey3b+RUuDyQ7w+SG1rXawgIMz0q+XgerPiWfre6FDV90KQqSo2i5XMZfs/uK19P44auDxwm1MlEBBD3stgWLLPiDyh4sPtnI92J7lFmydFN0WbJ0V3YqTXpPTmsdlOEFkuNbv0NHo40gxKNduafNf3Voeg9CsafL0W9eJT6fJ0W9eJa+tVpiAgICAgICAg/P0TM9Z+Kw55Yspq5PPpbtO/TcpdP5apcHkhs612qICAgICAgII68Nm/S8vFg7XDik7HDFp9oCjy066TVxkp11mGHxGGES1wIcCQQcwQaEHpqsZkcJG79txbCi8JDxBwcw8lw3Hcdx2e0KTFlnHO8O8eScc7w0iSv7IzDavc6G7a1zXH2FgIK0K6rHPPov11OOefR4ba0hQILSJcGJE2OcC2GOmhoXdVB1rjJq6xH0+suL6qsR9PqzaYjumXOe8lz3Ekk5klZ8zMzvKhMzM7ylLqWSbYmYbKVYDrv3ajTUg9ZoO9SYcfXeISYadd4hta2GsICCraQLDNqwNdgrFhVcAM3NPLaN5wBHVTaq2pxddd45hX1OPrrvHMMlWWzUhYtsRrFicJCNDk5pxY4bnD55hSY8lqTvDumS1J3hoEhpFlooHCsfDdtoNdvcRj7lerrKT3ei7XV1nn0czukSVhA8G2JEdsw1G95OPuS2spHHqW1dI49VBt23I9uP14pwHJYMGNHQNp3k/9Kjky2yTvKlkyWvO8oxRuGlaM7FMsx0y8UdEGqyuYZWpd+IgdwG9aGkxbR1z7r+lx7R1T7ryrq2ICDAZrlv7TvEVh25ljW5lJ3P57Ldv5FS4PJDvD5IbWtdrCAgzPSr5eB6s+JZ+t7oUNX3QpCpKjaLlcxl+z+4rX0/jhq4PHCbUyUQEGS6QbY+kpng2n6uDVo3F/nn3Bvcd6y9Vk6r7RxDN1OTqttHEKsqyust4LqRLIl4EbEkikUeg5xq3ux1T0gb1Yy4JpSLfynyYJpWLfyrSroGsaPrd+k4PBPNYsIAY5uZk13SRke7etPS5equ08w0dNl6q7TzC1q0siCPNtyodq8MytdXlDV1q01dbLWrhStVx+pT7uP1KfdILt2ICAgIPz9EzPWfisOeWLKauTz6W7Tv03KXT+WqXB5IbOtdqiAgICAgICAgpF+LoG0CZiAPrfPZ6dPOb97o29edPUafq+qvKpqMHV9VeWavaWEgggjAgihB3EHIrOUHVAQeyy7MjWs8Q4TS5230Wje47Au6UtedquqUtedoa9diwIdgQtUcaI6he/wBI7ANzRsHXvWphxRjrt7tPFijHGyZUyUQEBBnt87luc50eWbWuL4QzrtcwfFvs3KjqNN69VP4Us+n/APKv8M/IpUHAjAjaDuKoKThAQMkFyuhct8+WxZhpbBGIYcHROsea33n3q3g0029bcLWHTzb1tw1BrQwAAUAwAGQ6FpNBygICDAZrlv7TvEVh25ljW5lJ3P57Ldv5FS4PJDvD5IbWtdrCAgzPSr5eB6s+JZ+t7oUNX3QpCpKjaLlcxl+z+4rX0/jhq4PHCbUyUQQt77Y+hZZ7wfrHcSH2jt7hU9yhz5Oim/uizZOim7Fs1kMpaNH9jfScwHuH1UGjjuL/ADG+7W7hvVnTY+u+88QsabH1W3niGqzkqydY+G8VY4FpHQfmtO1YtG0tG0RaNpYjbllvseM+C7HVyPpNPJd/7bVY2Sk0t0yyclJpbpksO032PGZGb5pxHpNPKb7PeAmO80tFoMd5pbqht0nMsnGMiMNWOAcD0FbNbRaN4a0TExvDwXoeYcrFIJA4ocRgRDL2iI4EZUYXGqjzT9E/96e/9OMvZP8A3yhGw3cMYYAbLcOIYOu8wwwQYbuA4CnB6rgXAOrmd9KxbT1be2+39cbcIdvq29t9v/m3Caus8vlmYktDogYTiTDEV4hGu3iBuO1S4Z3p/wBx7f0lw9n8/wAe39JZSpRAQEFbNxrPP/zd/cif5Vf9ri+39yg/bY/s+8hdGSs+I2LDhkPaag67zmCMiaZEr2unx1neIe1wUrO8QnVOmEBAQEBAQEBAQRdr3elbYxiwwXemOK/8wxPUVHfDS/dCO+Kl+YVyNo3l3HixooG46p+QVedFX2mUE6SvtMvRJ6PJOAavdEidBcGt/wBoB966ro6RzvLqukpHPqtElJQpBoZCY1jNzQAOs7z0qxWsVjaIWK1isbQ+66eiAgICAgiLYu1KWxjEhjX9NvFf3kZ99VFfDS/MIr4aX5hWZjRoxx+rmHNH32B3vBaq06KPaUE6OPaXWBo0aOXMEj7rA0+0uKRovvZ5Gjj3lYrIulJ2UQ5sPWeMnxOM4HeBkD0gKxTT0p6xCemClOITqmTCAgICCuvuTZ7ySYRqSSePE2/iUH7bH9kH7fH9n2kroyUi9sRkMh7TUHXeaHqJova6fHWd4h7XBSs7xCcUyYQEEXa13pW2HNdGZrOaKDjObhWvmkKO+Kl53tCO+Kt/WzwfyPZ/2R/PE/5KP9ri+zj9tj+yckZNkhDbDhijGigFSaDPM4qatYrG0Jq1isbQ+66eiCLtmwJe2ywxg52rXVAc5oFaVNAc8Ao8mKuTuR3xVv3I3+Q7P+zd/cf/AJUf7XF9v7lH+2x/ZM2TZUGx2cHBbqtqScSSSdpJxOQUtMdaRtVLSlaRtV7V27RVs3elrbLTGZUtqAQ5zTQ7DqnEYfHeosmGmTuhHfFW/cjv5Ds/7N39x/8AlcftcX2/uUf7bH9k1ZNmQrIh8HCBDKkgFxdSuJoTkK406SpaUikbVTUpFI2h63NDgQcQdhyXbpF/QECmp9ZwX2XCP4Kno6teT93k9Cj/AEq7be323R/pV229vslGNDAAAABgAMAANgUiRygICAgICAgICAgICAgICAgICAgICAgICAgICAgICAgICAgICAgICAgICAgICAgICAgICAgICAgICAgICAgICAgICAgICAgICAgICAgICAgICAgICAgICAgICAgICAgICAgICAgICAgICAgICAgICAg//9k="/>
          <p:cNvSpPr>
            <a:spLocks noChangeAspect="1" noChangeArrowheads="1"/>
          </p:cNvSpPr>
          <p:nvPr/>
        </p:nvSpPr>
        <p:spPr bwMode="auto">
          <a:xfrm>
            <a:off x="152400" y="-2317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" name="AutoShape 8" descr="http://t1.gstatic.com/images?q=tbn:ANd9GcRz6WK7Qudu3aXt3Qn_7L5syJUb168bKinD64QBz8UmRCw7hQrlxuaI3BLNJA"/>
          <p:cNvSpPr>
            <a:spLocks noChangeAspect="1" noChangeArrowheads="1"/>
          </p:cNvSpPr>
          <p:nvPr/>
        </p:nvSpPr>
        <p:spPr bwMode="auto">
          <a:xfrm>
            <a:off x="307975" y="-373063"/>
            <a:ext cx="4133850" cy="1104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AutoShape 10" descr="http://t1.gstatic.com/images?q=tbn:ANd9GcRz6WK7Qudu3aXt3Qn_7L5syJUb168bKinD64QBz8UmRCw7hQrlxuaI3BLNJA"/>
          <p:cNvSpPr>
            <a:spLocks noChangeAspect="1" noChangeArrowheads="1"/>
          </p:cNvSpPr>
          <p:nvPr/>
        </p:nvSpPr>
        <p:spPr bwMode="auto">
          <a:xfrm>
            <a:off x="460375" y="-220663"/>
            <a:ext cx="4133850" cy="1104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AutoShape 12" descr="https://encrypted-tbn3.gstatic.com/images?q=tbn:ANd9GcTxvlXrCDVHcN1bz1RCwQ1BsTuPoNqtaveIVFp6rzSiN5DB0VjRkw"/>
          <p:cNvSpPr>
            <a:spLocks noChangeAspect="1" noChangeArrowheads="1"/>
          </p:cNvSpPr>
          <p:nvPr/>
        </p:nvSpPr>
        <p:spPr bwMode="auto">
          <a:xfrm>
            <a:off x="0" y="-1366838"/>
            <a:ext cx="1943100" cy="2352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AutoShape 2" descr="Bild in Originalgröße anzeigen">
            <a:hlinkClick r:id="rId12"/>
          </p:cNvPr>
          <p:cNvSpPr>
            <a:spLocks noChangeAspect="1" noChangeArrowheads="1"/>
          </p:cNvSpPr>
          <p:nvPr/>
        </p:nvSpPr>
        <p:spPr bwMode="auto">
          <a:xfrm>
            <a:off x="155575" y="-36512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" name="AutoShape 4" descr="Bild in Originalgröße anzeigen">
            <a:hlinkClick r:id="rId12"/>
          </p:cNvPr>
          <p:cNvSpPr>
            <a:spLocks noChangeAspect="1" noChangeArrowheads="1"/>
          </p:cNvSpPr>
          <p:nvPr/>
        </p:nvSpPr>
        <p:spPr bwMode="auto">
          <a:xfrm>
            <a:off x="307975" y="-21272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8596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256" y="3344880"/>
            <a:ext cx="7869237" cy="531749"/>
          </a:xfrm>
        </p:spPr>
        <p:txBody>
          <a:bodyPr/>
          <a:lstStyle/>
          <a:p>
            <a:pPr algn="ctr"/>
            <a:r>
              <a:rPr lang="en-US" dirty="0" smtClean="0"/>
              <a:t>Actavis Pharma US Updat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5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574820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211138"/>
            <a:ext cx="8893946" cy="1143000"/>
          </a:xfrm>
        </p:spPr>
        <p:txBody>
          <a:bodyPr/>
          <a:lstStyle/>
          <a:p>
            <a:r>
              <a:rPr lang="en-US" sz="3100" dirty="0"/>
              <a:t>Actavis is the 3</a:t>
            </a:r>
            <a:r>
              <a:rPr lang="en-US" sz="3100" baseline="30000" dirty="0"/>
              <a:t>rd</a:t>
            </a:r>
            <a:r>
              <a:rPr lang="en-US" sz="3100" dirty="0"/>
              <a:t> largest US Generics Company</a:t>
            </a:r>
            <a:r>
              <a:rPr lang="en-US" sz="2000" dirty="0"/>
              <a:t/>
            </a:r>
            <a:br>
              <a:rPr lang="en-US" sz="2000" dirty="0"/>
            </a:br>
            <a:r>
              <a:rPr lang="en-US" sz="2400" i="1" dirty="0"/>
              <a:t>Total Rx Dispensed</a:t>
            </a:r>
            <a:endParaRPr lang="en-US" sz="2400" dirty="0"/>
          </a:p>
        </p:txBody>
      </p:sp>
      <p:graphicFrame>
        <p:nvGraphicFramePr>
          <p:cNvPr id="4" name="Diagram 3"/>
          <p:cNvGraphicFramePr/>
          <p:nvPr/>
        </p:nvGraphicFramePr>
        <p:xfrm>
          <a:off x="304800" y="1536700"/>
          <a:ext cx="3810000" cy="510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7" name="Diagram 6"/>
          <p:cNvGraphicFramePr/>
          <p:nvPr/>
        </p:nvGraphicFramePr>
        <p:xfrm>
          <a:off x="4684602" y="1536700"/>
          <a:ext cx="3925998" cy="510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921603" name="Object 3"/>
          <p:cNvGraphicFramePr>
            <a:graphicFrameLocks noChangeAspect="1"/>
          </p:cNvGraphicFramePr>
          <p:nvPr/>
        </p:nvGraphicFramePr>
        <p:xfrm>
          <a:off x="1131404" y="1574800"/>
          <a:ext cx="2324100" cy="588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6" name="Photo Editor Photo" r:id="rId13" imgW="3895238" imgH="1619476" progId="">
                  <p:embed/>
                </p:oleObj>
              </mc:Choice>
              <mc:Fallback>
                <p:oleObj name="Photo Editor Photo" r:id="rId13" imgW="3895238" imgH="1619476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1404" y="1574800"/>
                        <a:ext cx="2324100" cy="5889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8097" dir="2700000" algn="ctr" rotWithShape="0">
                                <a:schemeClr val="bg2">
                                  <a:alpha val="74997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7" descr="Mylan Inc.">
            <a:hlinkClick r:id="rId15"/>
          </p:cNvPr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1915"/>
          <a:stretch>
            <a:fillRect/>
          </a:stretch>
        </p:blipFill>
        <p:spPr bwMode="auto">
          <a:xfrm>
            <a:off x="1295400" y="2603500"/>
            <a:ext cx="1752599" cy="514524"/>
          </a:xfrm>
          <a:prstGeom prst="rect">
            <a:avLst/>
          </a:prstGeom>
          <a:noFill/>
        </p:spPr>
      </p:pic>
      <p:pic>
        <p:nvPicPr>
          <p:cNvPr id="11" name="Picture 25" descr="Sandoz"/>
          <p:cNvPicPr>
            <a:picLocks noChangeAspect="1" noChangeArrowheads="1"/>
          </p:cNvPicPr>
          <p:nvPr/>
        </p:nvPicPr>
        <p:blipFill>
          <a:blip r:embed="rId1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295400" y="4660900"/>
            <a:ext cx="1875692" cy="381000"/>
          </a:xfrm>
          <a:prstGeom prst="rect">
            <a:avLst/>
          </a:prstGeom>
          <a:noFill/>
        </p:spPr>
      </p:pic>
      <p:pic>
        <p:nvPicPr>
          <p:cNvPr id="12" name="Picture 5" descr="http://www.apax.com/images/logos/Qualitest.GIF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260" t="30769" b="30940"/>
          <a:stretch>
            <a:fillRect/>
          </a:stretch>
        </p:blipFill>
        <p:spPr bwMode="auto">
          <a:xfrm>
            <a:off x="1371600" y="5575300"/>
            <a:ext cx="1922689" cy="609600"/>
          </a:xfrm>
          <a:prstGeom prst="rect">
            <a:avLst/>
          </a:prstGeom>
          <a:noFill/>
        </p:spPr>
      </p:pic>
      <p:pic>
        <p:nvPicPr>
          <p:cNvPr id="13" name="Picture 37" descr="Lupin Pharmaceuticals, Inc">
            <a:hlinkClick r:id="rId19"/>
          </p:cNvPr>
          <p:cNvPicPr>
            <a:picLocks noChangeAspect="1" noChangeArrowheads="1"/>
          </p:cNvPicPr>
          <p:nvPr/>
        </p:nvPicPr>
        <p:blipFill>
          <a:blip r:embed="rId20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5522801" y="1536700"/>
            <a:ext cx="2935399" cy="685800"/>
          </a:xfrm>
          <a:prstGeom prst="rect">
            <a:avLst/>
          </a:prstGeom>
          <a:ln/>
        </p:spPr>
      </p:pic>
      <p:pic>
        <p:nvPicPr>
          <p:cNvPr id="15" name="Picture 4" descr="http://www.amneal.com/images/Amneal_logo.jpg"/>
          <p:cNvPicPr>
            <a:picLocks noChangeAspect="1" noChangeArrowheads="1"/>
          </p:cNvPicPr>
          <p:nvPr/>
        </p:nvPicPr>
        <p:blipFill>
          <a:blip r:embed="rId21" cstate="print">
            <a:clrChange>
              <a:clrFrom>
                <a:srgbClr val="F0E2BD"/>
              </a:clrFrom>
              <a:clrTo>
                <a:srgbClr val="F0E2B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805997" y="2603500"/>
            <a:ext cx="1961964" cy="609600"/>
          </a:xfrm>
          <a:prstGeom prst="rect">
            <a:avLst/>
          </a:prstGeom>
          <a:noFill/>
        </p:spPr>
      </p:pic>
      <p:sp>
        <p:nvSpPr>
          <p:cNvPr id="20" name="Rectangle 7"/>
          <p:cNvSpPr>
            <a:spLocks noChangeArrowheads="1"/>
          </p:cNvSpPr>
          <p:nvPr/>
        </p:nvSpPr>
        <p:spPr bwMode="gray">
          <a:xfrm>
            <a:off x="3505200" y="1765300"/>
            <a:ext cx="51456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US" sz="2400" b="1" dirty="0" smtClean="0">
                <a:ea typeface="ＭＳ Ｐゴシック"/>
                <a:cs typeface="Times New Roman" pitchFamily="18" charset="0"/>
              </a:rPr>
              <a:t>561</a:t>
            </a:r>
            <a:endParaRPr lang="en-US" sz="2400" b="1" dirty="0">
              <a:ea typeface="ＭＳ Ｐゴシック"/>
              <a:cs typeface="Times New Roman" pitchFamily="18" charset="0"/>
            </a:endParaRPr>
          </a:p>
        </p:txBody>
      </p:sp>
      <p:sp>
        <p:nvSpPr>
          <p:cNvPr id="21" name="Rectangle 8"/>
          <p:cNvSpPr>
            <a:spLocks noChangeArrowheads="1"/>
          </p:cNvSpPr>
          <p:nvPr/>
        </p:nvSpPr>
        <p:spPr bwMode="gray">
          <a:xfrm>
            <a:off x="3505200" y="2755900"/>
            <a:ext cx="51456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US" sz="2400" b="1" dirty="0" smtClean="0">
                <a:ea typeface="ＭＳ Ｐゴシック"/>
                <a:cs typeface="Times New Roman" pitchFamily="18" charset="0"/>
              </a:rPr>
              <a:t>358</a:t>
            </a:r>
            <a:endParaRPr lang="en-US" sz="2400" b="1" dirty="0">
              <a:ea typeface="ＭＳ Ｐゴシック"/>
              <a:cs typeface="Times New Roman" pitchFamily="18" charset="0"/>
            </a:endParaRPr>
          </a:p>
        </p:txBody>
      </p:sp>
      <p:sp>
        <p:nvSpPr>
          <p:cNvPr id="22" name="Rectangle 9"/>
          <p:cNvSpPr>
            <a:spLocks noChangeArrowheads="1"/>
          </p:cNvSpPr>
          <p:nvPr/>
        </p:nvSpPr>
        <p:spPr bwMode="gray">
          <a:xfrm>
            <a:off x="3505200" y="3746500"/>
            <a:ext cx="51456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US" sz="2400" b="1" dirty="0" smtClean="0">
                <a:solidFill>
                  <a:schemeClr val="bg1"/>
                </a:solidFill>
                <a:ea typeface="ＭＳ Ｐゴシック"/>
                <a:cs typeface="Times New Roman" pitchFamily="18" charset="0"/>
              </a:rPr>
              <a:t>298</a:t>
            </a:r>
            <a:endParaRPr lang="en-US" sz="2400" b="1" dirty="0">
              <a:solidFill>
                <a:schemeClr val="bg1"/>
              </a:solidFill>
              <a:ea typeface="ＭＳ Ｐゴシック"/>
              <a:cs typeface="Times New Roman" pitchFamily="18" charset="0"/>
            </a:endParaRPr>
          </a:p>
        </p:txBody>
      </p:sp>
      <p:sp>
        <p:nvSpPr>
          <p:cNvPr id="23" name="Rectangle 27"/>
          <p:cNvSpPr>
            <a:spLocks noChangeArrowheads="1"/>
          </p:cNvSpPr>
          <p:nvPr/>
        </p:nvSpPr>
        <p:spPr bwMode="gray">
          <a:xfrm>
            <a:off x="3505200" y="4737100"/>
            <a:ext cx="51456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US" sz="2400" b="1" dirty="0" smtClean="0">
                <a:ea typeface="ＭＳ Ｐゴシック"/>
                <a:cs typeface="Times New Roman" pitchFamily="18" charset="0"/>
              </a:rPr>
              <a:t>209</a:t>
            </a:r>
            <a:endParaRPr lang="en-US" sz="2400" b="1" dirty="0">
              <a:ea typeface="ＭＳ Ｐゴシック"/>
              <a:cs typeface="Times New Roman" pitchFamily="18" charset="0"/>
            </a:endParaRPr>
          </a:p>
        </p:txBody>
      </p:sp>
      <p:sp>
        <p:nvSpPr>
          <p:cNvPr id="24" name="Rectangle 10"/>
          <p:cNvSpPr>
            <a:spLocks noChangeArrowheads="1"/>
          </p:cNvSpPr>
          <p:nvPr/>
        </p:nvSpPr>
        <p:spPr bwMode="gray">
          <a:xfrm>
            <a:off x="3363074" y="5727700"/>
            <a:ext cx="6445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US" sz="2400" b="1" dirty="0" smtClean="0">
                <a:ea typeface="ＭＳ Ｐゴシック"/>
                <a:cs typeface="Times New Roman" pitchFamily="18" charset="0"/>
              </a:rPr>
              <a:t>206</a:t>
            </a:r>
            <a:endParaRPr lang="en-US" sz="2400" b="1" dirty="0">
              <a:ea typeface="ＭＳ Ｐゴシック"/>
              <a:cs typeface="Times New Roman" pitchFamily="18" charset="0"/>
            </a:endParaRPr>
          </a:p>
        </p:txBody>
      </p:sp>
      <p:sp>
        <p:nvSpPr>
          <p:cNvPr id="25" name="Rectangle 12"/>
          <p:cNvSpPr>
            <a:spLocks noChangeArrowheads="1"/>
          </p:cNvSpPr>
          <p:nvPr/>
        </p:nvSpPr>
        <p:spPr bwMode="gray">
          <a:xfrm>
            <a:off x="7848600" y="1765300"/>
            <a:ext cx="66357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US" sz="2400" b="1" dirty="0" smtClean="0">
                <a:ea typeface="ＭＳ Ｐゴシック"/>
                <a:cs typeface="Times New Roman" pitchFamily="18" charset="0"/>
              </a:rPr>
              <a:t>182</a:t>
            </a:r>
            <a:endParaRPr lang="en-US" sz="2400" b="1" baseline="30000" dirty="0">
              <a:ea typeface="ＭＳ Ｐゴシック"/>
              <a:cs typeface="Times New Roman" pitchFamily="18" charset="0"/>
            </a:endParaRPr>
          </a:p>
        </p:txBody>
      </p:sp>
      <p:sp>
        <p:nvSpPr>
          <p:cNvPr id="26" name="Rectangle 11"/>
          <p:cNvSpPr>
            <a:spLocks noChangeArrowheads="1"/>
          </p:cNvSpPr>
          <p:nvPr/>
        </p:nvSpPr>
        <p:spPr bwMode="gray">
          <a:xfrm>
            <a:off x="7924800" y="2755900"/>
            <a:ext cx="6096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US" sz="2400" b="1" dirty="0" smtClean="0">
                <a:ea typeface="ＭＳ Ｐゴシック"/>
                <a:cs typeface="Times New Roman" pitchFamily="18" charset="0"/>
              </a:rPr>
              <a:t>129</a:t>
            </a:r>
            <a:endParaRPr lang="en-US" sz="2400" b="1" dirty="0">
              <a:ea typeface="ＭＳ Ｐゴシック"/>
              <a:cs typeface="Times New Roman" pitchFamily="18" charset="0"/>
            </a:endParaRPr>
          </a:p>
        </p:txBody>
      </p:sp>
      <p:sp>
        <p:nvSpPr>
          <p:cNvPr id="27" name="Rectangle 14"/>
          <p:cNvSpPr>
            <a:spLocks noChangeArrowheads="1"/>
          </p:cNvSpPr>
          <p:nvPr/>
        </p:nvSpPr>
        <p:spPr bwMode="gray">
          <a:xfrm>
            <a:off x="7848600" y="3746500"/>
            <a:ext cx="6318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US" sz="2400" b="1" dirty="0" smtClean="0">
                <a:ea typeface="ＭＳ Ｐゴシック"/>
                <a:cs typeface="Times New Roman" pitchFamily="18" charset="0"/>
              </a:rPr>
              <a:t>102</a:t>
            </a:r>
            <a:endParaRPr lang="en-US" sz="2400" b="1" dirty="0">
              <a:ea typeface="ＭＳ Ｐゴシック"/>
              <a:cs typeface="Times New Roman" pitchFamily="18" charset="0"/>
            </a:endParaRPr>
          </a:p>
        </p:txBody>
      </p:sp>
      <p:sp>
        <p:nvSpPr>
          <p:cNvPr id="28" name="Rectangle 13"/>
          <p:cNvSpPr>
            <a:spLocks noChangeArrowheads="1"/>
          </p:cNvSpPr>
          <p:nvPr/>
        </p:nvSpPr>
        <p:spPr bwMode="gray">
          <a:xfrm>
            <a:off x="8042910" y="4660900"/>
            <a:ext cx="47307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US" sz="2400" b="1" dirty="0" smtClean="0">
                <a:ea typeface="ＭＳ Ｐゴシック"/>
                <a:cs typeface="Times New Roman" pitchFamily="18" charset="0"/>
              </a:rPr>
              <a:t>99</a:t>
            </a:r>
            <a:endParaRPr lang="en-US" sz="2400" b="1" dirty="0">
              <a:ea typeface="ＭＳ Ｐゴシック"/>
              <a:cs typeface="Times New Roman" pitchFamily="18" charset="0"/>
            </a:endParaRPr>
          </a:p>
        </p:txBody>
      </p:sp>
      <p:sp>
        <p:nvSpPr>
          <p:cNvPr id="29" name="Rectangle 29"/>
          <p:cNvSpPr>
            <a:spLocks noChangeArrowheads="1"/>
          </p:cNvSpPr>
          <p:nvPr/>
        </p:nvSpPr>
        <p:spPr bwMode="gray">
          <a:xfrm>
            <a:off x="8042910" y="5739368"/>
            <a:ext cx="47307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 eaLnBrk="0" hangingPunct="0">
              <a:spcBef>
                <a:spcPct val="20000"/>
              </a:spcBef>
              <a:buClr>
                <a:schemeClr val="accent1"/>
              </a:buClr>
            </a:pPr>
            <a:r>
              <a:rPr lang="en-US" sz="2400" b="1" dirty="0" smtClean="0">
                <a:ea typeface="ＭＳ Ｐゴシック"/>
                <a:cs typeface="Times New Roman" pitchFamily="18" charset="0"/>
              </a:rPr>
              <a:t>96</a:t>
            </a:r>
            <a:endParaRPr lang="en-US" sz="2400" b="1" dirty="0">
              <a:ea typeface="ＭＳ Ｐゴシック"/>
              <a:cs typeface="Times New Roman" pitchFamily="18" charset="0"/>
            </a:endParaRPr>
          </a:p>
        </p:txBody>
      </p:sp>
      <p:sp>
        <p:nvSpPr>
          <p:cNvPr id="30" name="Text Box 29"/>
          <p:cNvSpPr txBox="1">
            <a:spLocks noChangeArrowheads="1"/>
          </p:cNvSpPr>
          <p:nvPr/>
        </p:nvSpPr>
        <p:spPr bwMode="auto">
          <a:xfrm>
            <a:off x="2076924" y="6433261"/>
            <a:ext cx="2333972" cy="277641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pPr eaLnBrk="0" hangingPunct="0">
              <a:lnSpc>
                <a:spcPct val="120000"/>
              </a:lnSpc>
              <a:buClr>
                <a:srgbClr val="FF9933"/>
              </a:buClr>
              <a:buSzPct val="120000"/>
              <a:buFont typeface="Symbol" pitchFamily="18" charset="2"/>
              <a:buNone/>
            </a:pPr>
            <a:r>
              <a:rPr lang="en-US" sz="1000" dirty="0">
                <a:solidFill>
                  <a:schemeClr val="bg1"/>
                </a:solidFill>
                <a:ea typeface="ＭＳ Ｐゴシック"/>
                <a:cs typeface="ＭＳ Ｐゴシック"/>
              </a:rPr>
              <a:t>Source: IMS Health, </a:t>
            </a:r>
            <a:r>
              <a:rPr lang="en-US" sz="1000" dirty="0" smtClean="0">
                <a:solidFill>
                  <a:schemeClr val="bg1"/>
                </a:solidFill>
                <a:ea typeface="ＭＳ Ｐゴシック"/>
                <a:cs typeface="ＭＳ Ｐゴシック"/>
              </a:rPr>
              <a:t>MAT Dec. 2013</a:t>
            </a:r>
            <a:endParaRPr lang="en-US" sz="1000" dirty="0">
              <a:solidFill>
                <a:schemeClr val="bg1"/>
              </a:solidFill>
              <a:ea typeface="ＭＳ Ｐゴシック"/>
              <a:cs typeface="ＭＳ Ｐゴシック"/>
            </a:endParaRPr>
          </a:p>
        </p:txBody>
      </p:sp>
      <p:pic>
        <p:nvPicPr>
          <p:cNvPr id="31" name="Picture 23" descr="http://2.bp.blogspot.com/_AcBUSVxs82w/S-Q6S_wYwNI/AAAAAAAAcj0/3KJ-B1YD0EU/s400/Dr_Reddy's_Logo.gif"/>
          <p:cNvPicPr>
            <a:picLocks noChangeAspect="1" noChangeArrowheads="1"/>
          </p:cNvPicPr>
          <p:nvPr/>
        </p:nvPicPr>
        <p:blipFill>
          <a:blip r:embed="rId22" cstate="print"/>
          <a:srcRect t="39634" b="39024"/>
          <a:stretch>
            <a:fillRect/>
          </a:stretch>
        </p:blipFill>
        <p:spPr bwMode="auto">
          <a:xfrm>
            <a:off x="5511800" y="4580879"/>
            <a:ext cx="2531110" cy="621436"/>
          </a:xfrm>
          <a:prstGeom prst="rect">
            <a:avLst/>
          </a:prstGeom>
          <a:noFill/>
        </p:spPr>
      </p:pic>
      <p:sp>
        <p:nvSpPr>
          <p:cNvPr id="109572" name="AutoShape 4" descr="data:image/jpeg;base64,/9j/4AAQSkZJRgABAQAAAQABAAD/2wCEAAkGBhQGBQkIBwgWCQkKGBYODQwMDRoTFBAWHxwsIB8nKiYrIDoqIyUmJSkqKzssNCguNDI4LCY5NTouNTQ3ODQBCQoKDQsNGQ4OGTUkHiQ1NTU1NTU1NTU2NSw1NTU1NTU1LC81NS80NTU0NCw1Kik1NC01LDUvNDQ0LDQsNS4pNf/AABEIACwAVwMBIgACEQEDEQH/xAAaAAEAAwEBAQAAAAAAAAAAAAAABQYHBAgD/8QAMxAAAQIFAwIFAQYHAAAAAAAAAQIDAAQFBhEHEiExQRMUIlFhgRUWUpGhsSRTcZOys8H/xAAZAQEAAwEBAAAAAAAAAAAAAAAAAgMEAQX/xAAlEQACAgIBAwMFAAAAAAAAAAAAAQIDESEEEjGBQaGxBRMyUXH/2gAMAwEAAhEDEQA/ANxhFZvy3Jm5aVLy9Fq6qS80vxFuIUob07SMcEdzGQXxS52xWGTOXu7MzL59Es2+6Fbe6j6uB+8WwrU/XYPQsIy3T+tLs+zPtW+Km4hupuAyvmS46pKdvGeu3d1xGiprLKqJ9rCZBkCjzHj9tmM5/KIyg4sHbCIejXdK1+mPz9OnQ7KS52uvKSpCUnGe4HaIqa1Dk5mWmpeXnil0oWG1lCkpKscYOIqnJQ1LRdVRbd+EW/BbYRmunNxeUolZn63PrVLSvhqU48tTmwYOfcxdqHc8vcdNcn6VNeYlmiULWEKTggZPUexhXL7kOtInyuO+Na6m84JSEQNGvmSr8tNv06opcZkgFTC1JUhLYOeSSB7RGL1dpaFlJrSTjuGnCP8AGLOiX6MxcYRF2/csvdEkuao015lhtRbUoJUnCsZ7j5hHGsdwct53e1ZlBcn5w73D6WGAfU8vsB8e57CMu09tB3UC43LuuoeLK7tzLSh6XlDoAP5aP1P1i6akaaqvybkXmqmJISiVp2qZ37txB/EMdIrbWic4w0lpm9HGm0DCUIQ4lKR8DxOI0QcVDvhsF9v+3PvRZM/T0py9t8Rj4cTyn8+n1jE0X0W9E3reK8TnjeXCO/gH1n9cp+ojUbZop0xkZ+eua5lTsq8W0pW+F4aOSPxHrmMzt6iM3hrW6aSkuUdp0zqyU4G0c9PZS+nxEq8JPO0tguk/QvuxpVQ6VMLMu2+6hVQcQMkFQKjx3wcD6COiap0ibCkmnKu4mRDyi2+GPUpfORjEaBWKQ3XaW7IzqNzTntwUnsR8iKWjSpRbTKv1xblPbUXEMBoDCj3zn/keXdGcpuWM5Pb4fJpVMYTm4uLzr19nv+6KlThjS+8Qk5TtRg+4zE1ogcaaVPno67/rTFioWnaadQ6rTKhNebYqQCF7EbCkYI9zzzFVpmis1TFzMpLXYqXpczw62w2UrdGO/OB7ZEauMlGjolpmP6jbC7kynW8p4+EVHTmhuXJYt302nn+JeEuptJVgLKSVYz84jppMjO0GjJlpnTZqe8DcVzMwzuWoZzzyc4+IutvaSPW9btZkJS4PDmKl4XhzLLJQpnYcnovJyOOojjVpBPuoKHb9eUhXCkkOEEf3I1uyLb3ryYCwaTXKxcVvTBp9KRSXGF4fYlwAgkjhQ47j9oRJ2JYzVi0hyUlnlTLr6vEeeWANxxgYHYCEZptOTx2BZYQhEAcVYozNfpypKqS4mZZRCi2vpkHIj5UW3Je3WFtUiRRKJXyvw04Kv6nqYkoR3LxgCEIRwCEIQAhCEAIQhAH/2Q=="/>
          <p:cNvSpPr>
            <a:spLocks noChangeAspect="1" noChangeArrowheads="1"/>
          </p:cNvSpPr>
          <p:nvPr/>
        </p:nvSpPr>
        <p:spPr bwMode="auto">
          <a:xfrm>
            <a:off x="0" y="-2079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9576" name="Picture 8" descr="http://www.zydusnycomed.com/images/zydus_main.gif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5862296" y="5670858"/>
            <a:ext cx="1981200" cy="457200"/>
          </a:xfrm>
          <a:prstGeom prst="rect">
            <a:avLst/>
          </a:prstGeom>
          <a:noFill/>
        </p:spPr>
      </p:pic>
      <p:pic>
        <p:nvPicPr>
          <p:cNvPr id="101379" name="Picture 3"/>
          <p:cNvPicPr>
            <a:picLocks noChangeAspect="1" noChangeArrowheads="1"/>
          </p:cNvPicPr>
          <p:nvPr/>
        </p:nvPicPr>
        <p:blipFill>
          <a:blip r:embed="rId24"/>
          <a:srcRect/>
          <a:stretch>
            <a:fillRect/>
          </a:stretch>
        </p:blipFill>
        <p:spPr bwMode="auto">
          <a:xfrm>
            <a:off x="1384300" y="3543300"/>
            <a:ext cx="1721183" cy="685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9564" y="3592081"/>
            <a:ext cx="2305235" cy="637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077404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242" name="Rectangle 2"/>
          <p:cNvSpPr>
            <a:spLocks noGrp="1" noChangeArrowheads="1"/>
          </p:cNvSpPr>
          <p:nvPr>
            <p:ph type="title"/>
          </p:nvPr>
        </p:nvSpPr>
        <p:spPr>
          <a:xfrm>
            <a:off x="914400" y="228600"/>
            <a:ext cx="5486400" cy="838200"/>
          </a:xfrm>
        </p:spPr>
        <p:txBody>
          <a:bodyPr>
            <a:normAutofit/>
          </a:bodyPr>
          <a:lstStyle/>
          <a:p>
            <a:r>
              <a:rPr lang="en-US" sz="2800" dirty="0" smtClean="0">
                <a:ea typeface="ＭＳ Ｐゴシック" pitchFamily="-112" charset="-128"/>
              </a:rPr>
              <a:t>Overall US Generic Strategy</a:t>
            </a:r>
          </a:p>
        </p:txBody>
      </p:sp>
      <p:sp>
        <p:nvSpPr>
          <p:cNvPr id="1382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93895" y="1143000"/>
            <a:ext cx="8597705" cy="5257800"/>
          </a:xfrm>
        </p:spPr>
        <p:txBody>
          <a:bodyPr>
            <a:noAutofit/>
          </a:bodyPr>
          <a:lstStyle/>
          <a:p>
            <a:pPr marL="342900" indent="-342900"/>
            <a:r>
              <a:rPr lang="en-US" sz="2400" b="1" dirty="0" smtClean="0">
                <a:ea typeface="ＭＳ Ｐゴシック" pitchFamily="-112" charset="-128"/>
              </a:rPr>
              <a:t>Maximize value of product portfolio</a:t>
            </a:r>
          </a:p>
          <a:p>
            <a:pPr lvl="1" indent="-342900"/>
            <a:r>
              <a:rPr lang="en-US" sz="1800" dirty="0" smtClean="0">
                <a:ea typeface="ＭＳ Ｐゴシック" pitchFamily="-112" charset="-128"/>
              </a:rPr>
              <a:t>Leverage supply chain and relationships</a:t>
            </a:r>
          </a:p>
          <a:p>
            <a:pPr lvl="1" indent="-342900"/>
            <a:r>
              <a:rPr lang="en-US" sz="1800" dirty="0" smtClean="0">
                <a:ea typeface="ＭＳ Ｐゴシック" pitchFamily="-112" charset="-128"/>
              </a:rPr>
              <a:t>Execute strategic pricing/volume matrix opportunities</a:t>
            </a:r>
          </a:p>
          <a:p>
            <a:pPr marL="342900" indent="-342900"/>
            <a:r>
              <a:rPr lang="en-US" sz="2400" b="1" dirty="0" smtClean="0">
                <a:ea typeface="ＭＳ Ｐゴシック" pitchFamily="-112" charset="-128"/>
              </a:rPr>
              <a:t>Grow Rx leadership position in market</a:t>
            </a:r>
          </a:p>
          <a:p>
            <a:pPr lvl="1" indent="-342900"/>
            <a:r>
              <a:rPr lang="en-US" sz="1800" dirty="0" smtClean="0">
                <a:ea typeface="ＭＳ Ｐゴシック" pitchFamily="-112" charset="-128"/>
              </a:rPr>
              <a:t>Breadth of product portfolio</a:t>
            </a:r>
          </a:p>
          <a:p>
            <a:pPr lvl="1" indent="-342900"/>
            <a:r>
              <a:rPr lang="en-US" sz="1800" dirty="0" smtClean="0">
                <a:ea typeface="ＭＳ Ｐゴシック" pitchFamily="-112" charset="-128"/>
              </a:rPr>
              <a:t>Pipeline (through R&amp;D , BD)</a:t>
            </a:r>
          </a:p>
          <a:p>
            <a:pPr marL="342900" indent="-342900"/>
            <a:r>
              <a:rPr lang="en-US" sz="2400" b="1" dirty="0" smtClean="0">
                <a:ea typeface="ＭＳ Ｐゴシック" pitchFamily="-112" charset="-128"/>
              </a:rPr>
              <a:t>First to market, last to exit</a:t>
            </a:r>
          </a:p>
          <a:p>
            <a:pPr lvl="1" indent="-342900"/>
            <a:r>
              <a:rPr lang="en-US" sz="1800" dirty="0" smtClean="0">
                <a:ea typeface="ＭＳ Ｐゴシック" pitchFamily="-112" charset="-128"/>
              </a:rPr>
              <a:t>R&amp;D FTF opportunities</a:t>
            </a:r>
          </a:p>
          <a:p>
            <a:pPr lvl="1" indent="-342900"/>
            <a:r>
              <a:rPr lang="en-US" sz="1800" dirty="0" smtClean="0">
                <a:ea typeface="ＭＳ Ｐゴシック" pitchFamily="-112" charset="-128"/>
              </a:rPr>
              <a:t>Global Supply Chain Initiative to reduce COG’s</a:t>
            </a:r>
          </a:p>
          <a:p>
            <a:r>
              <a:rPr lang="en-US" sz="2400" b="1" dirty="0" smtClean="0">
                <a:ea typeface="ＭＳ Ｐゴシック" pitchFamily="-112" charset="-128"/>
              </a:rPr>
              <a:t>#1 in Customer Satisfaction</a:t>
            </a:r>
          </a:p>
          <a:p>
            <a:pPr lvl="1" indent="-342900"/>
            <a:r>
              <a:rPr lang="en-US" sz="1800" dirty="0" smtClean="0">
                <a:ea typeface="ＭＳ Ｐゴシック" pitchFamily="-112" charset="-128"/>
              </a:rPr>
              <a:t>Reputation of quality</a:t>
            </a:r>
          </a:p>
          <a:p>
            <a:pPr lvl="1" indent="-342900"/>
            <a:r>
              <a:rPr lang="en-US" sz="1800" u="sng" dirty="0" smtClean="0">
                <a:ea typeface="ＭＳ Ｐゴシック" pitchFamily="-112" charset="-128"/>
              </a:rPr>
              <a:t>Value added</a:t>
            </a:r>
            <a:r>
              <a:rPr lang="en-US" sz="1800" dirty="0" smtClean="0">
                <a:ea typeface="ＭＳ Ｐゴシック" pitchFamily="-112" charset="-128"/>
              </a:rPr>
              <a:t> &amp; </a:t>
            </a:r>
            <a:r>
              <a:rPr lang="en-US" sz="1800" u="sng" dirty="0" smtClean="0">
                <a:ea typeface="ＭＳ Ｐゴシック" pitchFamily="-112" charset="-128"/>
              </a:rPr>
              <a:t>cost saving</a:t>
            </a:r>
            <a:r>
              <a:rPr lang="en-US" sz="1800" dirty="0" smtClean="0">
                <a:ea typeface="ＭＳ Ｐゴシック" pitchFamily="-112" charset="-128"/>
              </a:rPr>
              <a:t> project implementation (</a:t>
            </a:r>
            <a:r>
              <a:rPr lang="en-US" sz="1800" dirty="0" err="1" smtClean="0">
                <a:ea typeface="ＭＳ Ｐゴシック" pitchFamily="-112" charset="-128"/>
              </a:rPr>
              <a:t>ie</a:t>
            </a:r>
            <a:r>
              <a:rPr lang="en-US" sz="1800" dirty="0" smtClean="0">
                <a:ea typeface="ＭＳ Ｐゴシック" pitchFamily="-112" charset="-128"/>
              </a:rPr>
              <a:t> using </a:t>
            </a:r>
            <a:r>
              <a:rPr lang="en-US" sz="1800" dirty="0" err="1" smtClean="0">
                <a:ea typeface="ＭＳ Ｐゴシック" pitchFamily="-112" charset="-128"/>
              </a:rPr>
              <a:t>Anda</a:t>
            </a:r>
            <a:r>
              <a:rPr lang="en-US" sz="1800" dirty="0" smtClean="0">
                <a:ea typeface="ＭＳ Ｐゴシック" pitchFamily="-112" charset="-128"/>
              </a:rPr>
              <a:t> as a 3PL)</a:t>
            </a:r>
          </a:p>
          <a:p>
            <a:pPr lvl="1" indent="-342900"/>
            <a:r>
              <a:rPr lang="en-US" sz="1800" dirty="0" smtClean="0">
                <a:ea typeface="ＭＳ Ｐゴシック" pitchFamily="-112" charset="-128"/>
              </a:rPr>
              <a:t>Superior supply chain/Service levels</a:t>
            </a:r>
          </a:p>
          <a:p>
            <a:pPr lvl="1" indent="-342900"/>
            <a:r>
              <a:rPr lang="en-US" sz="1800" dirty="0" smtClean="0">
                <a:ea typeface="ＭＳ Ｐゴシック" pitchFamily="-112" charset="-128"/>
              </a:rPr>
              <a:t>Service through cross functional customer relationships</a:t>
            </a:r>
          </a:p>
          <a:p>
            <a:r>
              <a:rPr lang="en-US" sz="2400" b="1" dirty="0" smtClean="0">
                <a:ea typeface="ＭＳ Ｐゴシック" pitchFamily="-112" charset="-128"/>
              </a:rPr>
              <a:t>Expand offerings into </a:t>
            </a:r>
            <a:r>
              <a:rPr lang="en-US" sz="2400" b="1" u="sng" dirty="0" smtClean="0">
                <a:ea typeface="ＭＳ Ｐゴシック" pitchFamily="-112" charset="-128"/>
              </a:rPr>
              <a:t>injectables</a:t>
            </a:r>
            <a:r>
              <a:rPr lang="en-US" sz="2400" b="1" dirty="0" smtClean="0">
                <a:ea typeface="ＭＳ Ｐゴシック" pitchFamily="-112" charset="-128"/>
              </a:rPr>
              <a:t>, creams/ ointments, inhalations, &amp; liquids</a:t>
            </a:r>
          </a:p>
        </p:txBody>
      </p:sp>
      <p:sp>
        <p:nvSpPr>
          <p:cNvPr id="4" name="Slide Number Placeholder 3"/>
          <p:cNvSpPr txBox="1">
            <a:spLocks/>
          </p:cNvSpPr>
          <p:nvPr/>
        </p:nvSpPr>
        <p:spPr>
          <a:xfrm>
            <a:off x="4190241" y="6492548"/>
            <a:ext cx="984913" cy="39687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C63EAD1-6925-4603-9045-18A6243798B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MS PGothic" pitchFamily="34" charset="-128"/>
                <a:cs typeface="+mn-cs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546484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9738" y="205131"/>
            <a:ext cx="5257800" cy="821982"/>
          </a:xfrm>
        </p:spPr>
        <p:txBody>
          <a:bodyPr>
            <a:noAutofit/>
          </a:bodyPr>
          <a:lstStyle/>
          <a:p>
            <a:r>
              <a:rPr lang="en-US" dirty="0" smtClean="0">
                <a:ea typeface="ＭＳ Ｐゴシック" pitchFamily="-112" charset="-128"/>
              </a:rPr>
              <a:t>US Pharma</a:t>
            </a:r>
            <a:br>
              <a:rPr lang="en-US" dirty="0" smtClean="0">
                <a:ea typeface="ＭＳ Ｐゴシック" pitchFamily="-112" charset="-128"/>
              </a:rPr>
            </a:br>
            <a:r>
              <a:rPr lang="en-US" dirty="0" smtClean="0">
                <a:ea typeface="ＭＳ Ｐゴシック" pitchFamily="-112" charset="-128"/>
              </a:rPr>
              <a:t>2013 Top 15 Actavis Customers 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0089183"/>
              </p:ext>
            </p:extLst>
          </p:nvPr>
        </p:nvGraphicFramePr>
        <p:xfrm>
          <a:off x="341888" y="1315596"/>
          <a:ext cx="5047407" cy="47418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7386"/>
                <a:gridCol w="1153693"/>
                <a:gridCol w="1586328"/>
              </a:tblGrid>
              <a:tr h="346108"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/>
                        <a:t>Customer</a:t>
                      </a:r>
                      <a:endParaRPr lang="en-US" sz="1700" dirty="0"/>
                    </a:p>
                  </a:txBody>
                  <a:tcPr marL="86527" marR="86527" marT="43263" marB="4326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/>
                        <a:t>$ M</a:t>
                      </a:r>
                      <a:endParaRPr lang="en-US" sz="1700" dirty="0"/>
                    </a:p>
                  </a:txBody>
                  <a:tcPr marL="86527" marR="86527" marT="43263" marB="4326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700" dirty="0" smtClean="0"/>
                        <a:t>%</a:t>
                      </a:r>
                      <a:endParaRPr lang="en-US" sz="1700" dirty="0"/>
                    </a:p>
                  </a:txBody>
                  <a:tcPr marL="86527" marR="86527" marT="43263" marB="43263"/>
                </a:tc>
              </a:tr>
              <a:tr h="293051">
                <a:tc>
                  <a:txBody>
                    <a:bodyPr/>
                    <a:lstStyle/>
                    <a:p>
                      <a:r>
                        <a:rPr lang="en-US" sz="1300" b="1" dirty="0" smtClean="0"/>
                        <a:t>Walgreen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$1,070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25.1%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</a:tr>
              <a:tr h="293051">
                <a:tc>
                  <a:txBody>
                    <a:bodyPr/>
                    <a:lstStyle/>
                    <a:p>
                      <a:r>
                        <a:rPr lang="en-US" sz="1300" b="1" dirty="0" smtClean="0"/>
                        <a:t>CVS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592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13.9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</a:tr>
              <a:tr h="29305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dirty="0" err="1" smtClean="0"/>
                        <a:t>Anda</a:t>
                      </a:r>
                      <a:endParaRPr lang="en-US" sz="1300" b="1" dirty="0" smtClean="0"/>
                    </a:p>
                  </a:txBody>
                  <a:tcPr marL="86527" marR="86527" marT="43263" marB="4326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</a:rPr>
                        <a:t>364</a:t>
                      </a:r>
                      <a:endParaRPr lang="en-US" sz="1300" b="1" dirty="0">
                        <a:solidFill>
                          <a:schemeClr val="bg2">
                            <a:lumMod val="75000"/>
                          </a:schemeClr>
                        </a:solidFill>
                      </a:endParaRPr>
                    </a:p>
                  </a:txBody>
                  <a:tcPr marL="86527" marR="86527" marT="43263" marB="43263"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300" b="1" kern="1200" dirty="0" smtClean="0">
                          <a:solidFill>
                            <a:schemeClr val="bg2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8.6</a:t>
                      </a:r>
                      <a:endParaRPr lang="en-US" sz="1300" b="1" kern="1200" dirty="0">
                        <a:solidFill>
                          <a:schemeClr val="bg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6527" marR="86527" marT="43263" marB="43263"/>
                </a:tc>
              </a:tr>
              <a:tr h="29305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dirty="0" smtClean="0"/>
                        <a:t>McKesson</a:t>
                      </a:r>
                    </a:p>
                  </a:txBody>
                  <a:tcPr marL="86527" marR="86527" marT="43263" marB="43263"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3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25</a:t>
                      </a:r>
                      <a:endParaRPr lang="en-US" sz="13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6527" marR="86527" marT="43263" marB="43263"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3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.6</a:t>
                      </a:r>
                      <a:endParaRPr lang="en-US" sz="13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6527" marR="86527" marT="43263" marB="43263"/>
                </a:tc>
              </a:tr>
              <a:tr h="293051">
                <a:tc>
                  <a:txBody>
                    <a:bodyPr/>
                    <a:lstStyle/>
                    <a:p>
                      <a:r>
                        <a:rPr lang="en-US" sz="1300" b="1" dirty="0" err="1" smtClean="0">
                          <a:solidFill>
                            <a:schemeClr val="tx1"/>
                          </a:solidFill>
                        </a:rPr>
                        <a:t>Walmart</a:t>
                      </a:r>
                      <a:r>
                        <a:rPr lang="en-US" sz="1300" b="1" baseline="0" dirty="0" smtClean="0">
                          <a:solidFill>
                            <a:schemeClr val="tx1"/>
                          </a:solidFill>
                        </a:rPr>
                        <a:t> Stores</a:t>
                      </a:r>
                      <a:endParaRPr lang="en-US" sz="1300" b="1" dirty="0">
                        <a:solidFill>
                          <a:schemeClr val="tx1"/>
                        </a:solidFill>
                      </a:endParaRPr>
                    </a:p>
                  </a:txBody>
                  <a:tcPr marL="86527" marR="86527" marT="43263" marB="4326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>
                          <a:solidFill>
                            <a:schemeClr val="tx1"/>
                          </a:solidFill>
                        </a:rPr>
                        <a:t>233</a:t>
                      </a:r>
                      <a:endParaRPr lang="en-US" sz="1300" b="1" dirty="0">
                        <a:solidFill>
                          <a:schemeClr val="tx1"/>
                        </a:solidFill>
                      </a:endParaRPr>
                    </a:p>
                  </a:txBody>
                  <a:tcPr marL="86527" marR="86527" marT="43263" marB="4326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>
                          <a:solidFill>
                            <a:schemeClr val="tx1"/>
                          </a:solidFill>
                        </a:rPr>
                        <a:t>5.5</a:t>
                      </a:r>
                      <a:endParaRPr lang="en-US" sz="1300" b="1" dirty="0">
                        <a:solidFill>
                          <a:schemeClr val="tx1"/>
                        </a:solidFill>
                      </a:endParaRPr>
                    </a:p>
                  </a:txBody>
                  <a:tcPr marL="86527" marR="86527" marT="43263" marB="43263"/>
                </a:tc>
              </a:tr>
              <a:tr h="293051">
                <a:tc>
                  <a:txBody>
                    <a:bodyPr/>
                    <a:lstStyle/>
                    <a:p>
                      <a:r>
                        <a:rPr lang="en-US" sz="1300" b="1" dirty="0" err="1" smtClean="0"/>
                        <a:t>Gov’t</a:t>
                      </a:r>
                      <a:r>
                        <a:rPr lang="en-US" sz="1300" b="1" dirty="0" smtClean="0"/>
                        <a:t> (</a:t>
                      </a:r>
                      <a:r>
                        <a:rPr lang="en-US" sz="1300" b="1" dirty="0" err="1" smtClean="0"/>
                        <a:t>incl</a:t>
                      </a:r>
                      <a:r>
                        <a:rPr lang="en-US" sz="1300" b="1" baseline="0" dirty="0" smtClean="0"/>
                        <a:t> </a:t>
                      </a:r>
                      <a:r>
                        <a:rPr lang="en-US" sz="1300" b="1" baseline="0" dirty="0" err="1" smtClean="0"/>
                        <a:t>rpkgrs</a:t>
                      </a:r>
                      <a:r>
                        <a:rPr lang="en-US" sz="1300" b="1" baseline="0" dirty="0" smtClean="0"/>
                        <a:t>)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200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4.7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</a:tr>
              <a:tr h="293051">
                <a:tc>
                  <a:txBody>
                    <a:bodyPr/>
                    <a:lstStyle/>
                    <a:p>
                      <a:r>
                        <a:rPr lang="en-US" sz="1300" b="1" dirty="0" smtClean="0"/>
                        <a:t>AmerisourceBergen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196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4.6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</a:tr>
              <a:tr h="293051">
                <a:tc>
                  <a:txBody>
                    <a:bodyPr/>
                    <a:lstStyle/>
                    <a:p>
                      <a:r>
                        <a:rPr lang="en-US" sz="1300" b="1" dirty="0" err="1" smtClean="0"/>
                        <a:t>Econdisc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180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4.2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</a:tr>
              <a:tr h="293051">
                <a:tc>
                  <a:txBody>
                    <a:bodyPr/>
                    <a:lstStyle/>
                    <a:p>
                      <a:r>
                        <a:rPr lang="en-US" sz="1300" b="1" dirty="0" smtClean="0"/>
                        <a:t>Rite Aid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135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3.2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</a:tr>
              <a:tr h="293051">
                <a:tc>
                  <a:txBody>
                    <a:bodyPr/>
                    <a:lstStyle/>
                    <a:p>
                      <a:r>
                        <a:rPr lang="en-US" sz="1300" b="1" dirty="0" smtClean="0"/>
                        <a:t>Cardinal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120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2.8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</a:tr>
              <a:tr h="293051">
                <a:tc>
                  <a:txBody>
                    <a:bodyPr/>
                    <a:lstStyle/>
                    <a:p>
                      <a:r>
                        <a:rPr lang="en-US" sz="1300" b="1" dirty="0" err="1" smtClean="0"/>
                        <a:t>Optisource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86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2.0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</a:tr>
              <a:tr h="293051">
                <a:tc>
                  <a:txBody>
                    <a:bodyPr/>
                    <a:lstStyle/>
                    <a:p>
                      <a:r>
                        <a:rPr lang="en-US" sz="1300" b="1" dirty="0" smtClean="0"/>
                        <a:t>Kaiser Permanente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84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2.0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</a:tr>
              <a:tr h="293051">
                <a:tc>
                  <a:txBody>
                    <a:bodyPr/>
                    <a:lstStyle/>
                    <a:p>
                      <a:r>
                        <a:rPr lang="en-US" sz="1300" b="1" dirty="0" smtClean="0"/>
                        <a:t>Morris &amp; Dickson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46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1.1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</a:tr>
              <a:tr h="293051">
                <a:tc>
                  <a:txBody>
                    <a:bodyPr/>
                    <a:lstStyle/>
                    <a:p>
                      <a:r>
                        <a:rPr lang="en-US" sz="1300" b="1" dirty="0" smtClean="0"/>
                        <a:t>Omnicare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44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1.0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</a:tr>
              <a:tr h="293051">
                <a:tc>
                  <a:txBody>
                    <a:bodyPr/>
                    <a:lstStyle/>
                    <a:p>
                      <a:r>
                        <a:rPr lang="en-US" sz="1300" b="1" dirty="0" smtClean="0"/>
                        <a:t>HD</a:t>
                      </a:r>
                      <a:r>
                        <a:rPr lang="en-US" sz="1300" b="1" baseline="0" dirty="0" smtClean="0"/>
                        <a:t> Smith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42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1.0</a:t>
                      </a:r>
                      <a:endParaRPr lang="en-US" sz="1300" b="1" dirty="0"/>
                    </a:p>
                  </a:txBody>
                  <a:tcPr marL="86527" marR="86527" marT="43263" marB="43263"/>
                </a:tc>
              </a:tr>
            </a:tbl>
          </a:graphicData>
        </a:graphic>
      </p:graphicFrame>
      <p:pic>
        <p:nvPicPr>
          <p:cNvPr id="6" name="Picture 4" descr="walmart_logo.gif Walmart Logo image by eabisbee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667" b="28000"/>
          <a:stretch>
            <a:fillRect/>
          </a:stretch>
        </p:blipFill>
        <p:spPr bwMode="auto">
          <a:xfrm>
            <a:off x="5638800" y="3283746"/>
            <a:ext cx="1600200" cy="544068"/>
          </a:xfrm>
          <a:prstGeom prst="rect">
            <a:avLst/>
          </a:prstGeom>
          <a:noFill/>
        </p:spPr>
      </p:pic>
      <p:pic>
        <p:nvPicPr>
          <p:cNvPr id="7" name="Picture 6" descr="http://www.columbusparent.com/live/export-content/sites/columbusparent/images/2009/03/kroger_new_logo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96200" y="4045746"/>
            <a:ext cx="845921" cy="685800"/>
          </a:xfrm>
          <a:prstGeom prst="rect">
            <a:avLst/>
          </a:prstGeom>
          <a:noFill/>
        </p:spPr>
      </p:pic>
      <p:pic>
        <p:nvPicPr>
          <p:cNvPr id="8" name="Picture 7" descr="riteaid.jpg image by lucky2289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43600" y="4045746"/>
            <a:ext cx="762000" cy="658369"/>
          </a:xfrm>
          <a:prstGeom prst="rect">
            <a:avLst/>
          </a:prstGeom>
          <a:noFill/>
        </p:spPr>
      </p:pic>
      <p:pic>
        <p:nvPicPr>
          <p:cNvPr id="9" name="Picture 12" descr="http://www.joe-skelly.com/images/mckesson-logo.gif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91400" y="1835946"/>
            <a:ext cx="1752600" cy="624364"/>
          </a:xfrm>
          <a:prstGeom prst="rect">
            <a:avLst/>
          </a:prstGeom>
          <a:noFill/>
        </p:spPr>
      </p:pic>
      <p:pic>
        <p:nvPicPr>
          <p:cNvPr id="11" name="Picture 16" descr="http://ahrcanum.files.wordpress.com/2010/01/kaiser_permanente.jpg"/>
          <p:cNvPicPr>
            <a:picLocks noChangeAspect="1" noChangeArrowheads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43800" y="4883946"/>
            <a:ext cx="1447800" cy="723900"/>
          </a:xfrm>
          <a:prstGeom prst="rect">
            <a:avLst/>
          </a:prstGeom>
          <a:noFill/>
        </p:spPr>
      </p:pic>
      <p:pic>
        <p:nvPicPr>
          <p:cNvPr id="12" name="Picture 18" descr="http://www.seeklogo.com/images/C/cvs-logo-18C119A8F9-seeklogo.com.gif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5484" b="38710"/>
          <a:stretch>
            <a:fillRect/>
          </a:stretch>
        </p:blipFill>
        <p:spPr bwMode="auto">
          <a:xfrm>
            <a:off x="7239000" y="2563533"/>
            <a:ext cx="1905000" cy="491613"/>
          </a:xfrm>
          <a:prstGeom prst="rect">
            <a:avLst/>
          </a:prstGeom>
          <a:noFill/>
        </p:spPr>
      </p:pic>
      <p:pic>
        <p:nvPicPr>
          <p:cNvPr id="14" name="Picture 22" descr="http://www.listphile.com/Fortune_500_Logos/AmerisourceBergen/image/029_amerisourcebergen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38800" y="2597946"/>
            <a:ext cx="1524000" cy="422656"/>
          </a:xfrm>
          <a:prstGeom prst="rect">
            <a:avLst/>
          </a:prstGeom>
          <a:noFill/>
        </p:spPr>
      </p:pic>
      <p:pic>
        <p:nvPicPr>
          <p:cNvPr id="922626" name="Picture 2" descr="http://www.momsneedtoknow.com/wp-content/uploads/2009/03/walgreens_logo3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15000" y="1912146"/>
            <a:ext cx="1524000" cy="551793"/>
          </a:xfrm>
          <a:prstGeom prst="rect">
            <a:avLst/>
          </a:prstGeom>
          <a:noFill/>
        </p:spPr>
      </p:pic>
      <p:pic>
        <p:nvPicPr>
          <p:cNvPr id="922628" name="Picture 4" descr="http://www.securingpharma.com/40/articles/275.php?cmd=ShowAsset&amp;assetID=920&amp;nosurround=true&amp;fakeExtension=.jpg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471" r="11111" b="23760"/>
          <a:stretch>
            <a:fillRect/>
          </a:stretch>
        </p:blipFill>
        <p:spPr bwMode="auto">
          <a:xfrm>
            <a:off x="5562600" y="4883945"/>
            <a:ext cx="1752600" cy="716973"/>
          </a:xfrm>
          <a:prstGeom prst="rect">
            <a:avLst/>
          </a:prstGeom>
          <a:noFill/>
        </p:spPr>
      </p:pic>
      <p:pic>
        <p:nvPicPr>
          <p:cNvPr id="15" name="Picture 14" descr="Anda Distribution_logo.jpg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7391400" y="3283745"/>
            <a:ext cx="1437436" cy="362009"/>
          </a:xfrm>
          <a:prstGeom prst="rect">
            <a:avLst/>
          </a:prstGeom>
        </p:spPr>
      </p:pic>
      <p:sp>
        <p:nvSpPr>
          <p:cNvPr id="18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150812" y="6400142"/>
            <a:ext cx="602561" cy="365125"/>
          </a:xfrm>
          <a:prstGeom prst="rect">
            <a:avLst/>
          </a:prstGeom>
        </p:spPr>
        <p:txBody>
          <a:bodyPr/>
          <a:lstStyle/>
          <a:p>
            <a:fld id="{0BA888D0-236D-7F44-9EFD-0D4819FAD384}" type="slidenum">
              <a:rPr lang="en-US" smtClean="0">
                <a:solidFill>
                  <a:srgbClr val="53565A">
                    <a:tint val="75000"/>
                  </a:srgbClr>
                </a:solidFill>
              </a:rPr>
              <a:pPr/>
              <a:t>8</a:t>
            </a:fld>
            <a:endParaRPr lang="en-US" dirty="0">
              <a:solidFill>
                <a:srgbClr val="53565A">
                  <a:tint val="75000"/>
                </a:srgb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39738" y="961944"/>
            <a:ext cx="35468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ea typeface="ＭＳ Ｐゴシック" pitchFamily="-112" charset="-128"/>
              </a:rPr>
              <a:t>~</a:t>
            </a:r>
            <a:r>
              <a:rPr lang="en-US" dirty="0" smtClean="0">
                <a:ea typeface="ＭＳ Ｐゴシック" pitchFamily="-112" charset="-128"/>
              </a:rPr>
              <a:t>91% </a:t>
            </a:r>
            <a:r>
              <a:rPr lang="en-US" dirty="0">
                <a:ea typeface="ＭＳ Ｐゴシック" pitchFamily="-112" charset="-128"/>
              </a:rPr>
              <a:t>of Total Generic </a:t>
            </a:r>
            <a:r>
              <a:rPr lang="en-US" dirty="0" smtClean="0">
                <a:ea typeface="ＭＳ Ｐゴシック" pitchFamily="-112" charset="-128"/>
              </a:rPr>
              <a:t>Busines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4122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7562" y="252920"/>
            <a:ext cx="7869237" cy="991596"/>
          </a:xfrm>
        </p:spPr>
        <p:txBody>
          <a:bodyPr/>
          <a:lstStyle/>
          <a:p>
            <a:r>
              <a:rPr lang="en-US" dirty="0" smtClean="0"/>
              <a:t>Top 15 Watson Generic Products</a:t>
            </a:r>
            <a:br>
              <a:rPr lang="en-US" dirty="0" smtClean="0"/>
            </a:br>
            <a:r>
              <a:rPr lang="en-US" sz="2800" b="0" dirty="0" smtClean="0"/>
              <a:t>~51% of Total Generic Revenue*</a:t>
            </a:r>
            <a:endParaRPr lang="en-US" sz="2800" b="0" dirty="0"/>
          </a:p>
        </p:txBody>
      </p:sp>
      <p:sp>
        <p:nvSpPr>
          <p:cNvPr id="16" name="Rectangle 15"/>
          <p:cNvSpPr/>
          <p:nvPr/>
        </p:nvSpPr>
        <p:spPr>
          <a:xfrm>
            <a:off x="7162800" y="2438400"/>
            <a:ext cx="1752600" cy="1143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Text Box 4"/>
          <p:cNvSpPr txBox="1">
            <a:spLocks noChangeArrowheads="1"/>
          </p:cNvSpPr>
          <p:nvPr/>
        </p:nvSpPr>
        <p:spPr bwMode="auto">
          <a:xfrm>
            <a:off x="3490969" y="6224998"/>
            <a:ext cx="251460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1" hangingPunct="1"/>
            <a:r>
              <a:rPr lang="en-US" sz="1100" dirty="0" smtClean="0">
                <a:solidFill>
                  <a:srgbClr val="000000"/>
                </a:solidFill>
              </a:rPr>
              <a:t>* YTD May, 2013 Annualized</a:t>
            </a:r>
          </a:p>
          <a:p>
            <a:pPr eaLnBrk="1" hangingPunct="1"/>
            <a:r>
              <a:rPr lang="en-US" sz="1100" dirty="0" smtClean="0">
                <a:solidFill>
                  <a:srgbClr val="000000"/>
                </a:solidFill>
              </a:rPr>
              <a:t>^ Development sit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315200" y="2590800"/>
            <a:ext cx="1447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000000"/>
                </a:solidFill>
              </a:rPr>
              <a:t>Top 25</a:t>
            </a:r>
          </a:p>
          <a:p>
            <a:pPr algn="ctr"/>
            <a:r>
              <a:rPr lang="en-US" sz="2400" b="1" dirty="0" smtClean="0">
                <a:solidFill>
                  <a:srgbClr val="000000"/>
                </a:solidFill>
              </a:rPr>
              <a:t>~ </a:t>
            </a:r>
            <a:r>
              <a:rPr lang="en-US" sz="2400" dirty="0" smtClean="0">
                <a:solidFill>
                  <a:srgbClr val="000000"/>
                </a:solidFill>
              </a:rPr>
              <a:t>61</a:t>
            </a:r>
            <a:r>
              <a:rPr lang="en-US" sz="2400" b="1" dirty="0" smtClean="0">
                <a:solidFill>
                  <a:srgbClr val="000000"/>
                </a:solidFill>
              </a:rPr>
              <a:t>%</a:t>
            </a:r>
            <a:endParaRPr lang="en-US" sz="2400" b="1" dirty="0">
              <a:solidFill>
                <a:srgbClr val="000000"/>
              </a:solidFill>
            </a:endParaRPr>
          </a:p>
        </p:txBody>
      </p:sp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4534766"/>
              </p:ext>
            </p:extLst>
          </p:nvPr>
        </p:nvGraphicFramePr>
        <p:xfrm>
          <a:off x="979428" y="1244515"/>
          <a:ext cx="6024483" cy="49531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95472"/>
                <a:gridCol w="1047737"/>
                <a:gridCol w="1165913"/>
                <a:gridCol w="1715361"/>
              </a:tblGrid>
              <a:tr h="556858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/>
                        <a:t>Product</a:t>
                      </a:r>
                      <a:endParaRPr lang="en-US" sz="1500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/>
                        <a:t>NS$</a:t>
                      </a:r>
                      <a:endParaRPr lang="en-US" sz="1500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/>
                        <a:t>% of Sales</a:t>
                      </a:r>
                      <a:endParaRPr lang="en-US" sz="1500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/>
                        <a:t>Development Site^</a:t>
                      </a:r>
                      <a:endParaRPr lang="en-US" sz="1500" dirty="0"/>
                    </a:p>
                  </a:txBody>
                  <a:tcPr marL="87925" marR="87925" marT="43962" marB="43962"/>
                </a:tc>
              </a:tr>
              <a:tr h="293083">
                <a:tc>
                  <a:txBody>
                    <a:bodyPr/>
                    <a:lstStyle/>
                    <a:p>
                      <a:r>
                        <a:rPr lang="en-US" sz="1300" b="1" dirty="0" smtClean="0"/>
                        <a:t>Methylphenidate ER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791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21.5%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Florida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</a:tr>
              <a:tr h="293083">
                <a:tc>
                  <a:txBody>
                    <a:bodyPr/>
                    <a:lstStyle/>
                    <a:p>
                      <a:r>
                        <a:rPr lang="en-US" sz="1300" b="1" dirty="0" err="1" smtClean="0"/>
                        <a:t>Metoprolol</a:t>
                      </a:r>
                      <a:r>
                        <a:rPr lang="en-US" sz="1300" b="1" baseline="0" dirty="0" smtClean="0"/>
                        <a:t> ER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167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4.5%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Florida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</a:tr>
              <a:tr h="29308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dirty="0" smtClean="0"/>
                        <a:t>Mixed</a:t>
                      </a:r>
                      <a:r>
                        <a:rPr lang="en-US" sz="1300" b="1" baseline="0" dirty="0" smtClean="0"/>
                        <a:t> Amphetamines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132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3.6%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Elizabeth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</a:tr>
              <a:tr h="293083">
                <a:tc>
                  <a:txBody>
                    <a:bodyPr/>
                    <a:lstStyle/>
                    <a:p>
                      <a:r>
                        <a:rPr lang="en-US" sz="1300" b="1" dirty="0" smtClean="0"/>
                        <a:t>Hydrocodone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129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3.5%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Corona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</a:tr>
              <a:tr h="29308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dirty="0" smtClean="0"/>
                        <a:t>Enoxaparin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86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2.3%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TPM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</a:tr>
              <a:tr h="29308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dirty="0" smtClean="0"/>
                        <a:t>Microgestin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69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1.9%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Corona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</a:tr>
              <a:tr h="29308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dirty="0" smtClean="0"/>
                        <a:t>Fentanyl</a:t>
                      </a:r>
                      <a:r>
                        <a:rPr lang="en-US" sz="1300" b="1" baseline="0" dirty="0" smtClean="0"/>
                        <a:t> Patch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67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1.8%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Salt Lake City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</a:tr>
              <a:tr h="29308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dirty="0" smtClean="0"/>
                        <a:t>Potassium Tabs ER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64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1.7%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Florida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</a:tr>
              <a:tr h="29308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dirty="0" smtClean="0"/>
                        <a:t>Morphine</a:t>
                      </a:r>
                      <a:r>
                        <a:rPr lang="en-US" sz="1300" b="1" baseline="0" dirty="0" smtClean="0"/>
                        <a:t> Sulfate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58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1.6%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Elizabeth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</a:tr>
              <a:tr h="29308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dirty="0" smtClean="0"/>
                        <a:t>Oxycodone/APAP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57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1.6%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Corona/Elizabeth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</a:tr>
              <a:tr h="293083">
                <a:tc>
                  <a:txBody>
                    <a:bodyPr/>
                    <a:lstStyle/>
                    <a:p>
                      <a:r>
                        <a:rPr lang="en-US" sz="1300" b="1" dirty="0" smtClean="0"/>
                        <a:t>Metformin </a:t>
                      </a:r>
                      <a:r>
                        <a:rPr lang="en-US" sz="1300" b="1" dirty="0" err="1" smtClean="0"/>
                        <a:t>HCl</a:t>
                      </a:r>
                      <a:r>
                        <a:rPr lang="en-US" sz="1300" b="1" dirty="0" smtClean="0"/>
                        <a:t> XT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50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1.4%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Florida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</a:tr>
              <a:tr h="293083">
                <a:tc>
                  <a:txBody>
                    <a:bodyPr/>
                    <a:lstStyle/>
                    <a:p>
                      <a:r>
                        <a:rPr lang="en-US" sz="1300" b="1" dirty="0" smtClean="0"/>
                        <a:t>Oxycodone </a:t>
                      </a:r>
                      <a:r>
                        <a:rPr lang="en-US" sz="1300" b="1" dirty="0" err="1" smtClean="0"/>
                        <a:t>HCl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50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1.4%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Elizabeth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</a:tr>
              <a:tr h="293083">
                <a:tc>
                  <a:txBody>
                    <a:bodyPr/>
                    <a:lstStyle/>
                    <a:p>
                      <a:r>
                        <a:rPr lang="en-US" sz="1300" b="1" dirty="0" smtClean="0"/>
                        <a:t>Bupropion XL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49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1.3%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Florida/ASA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</a:tr>
              <a:tr h="293083">
                <a:tc>
                  <a:txBody>
                    <a:bodyPr/>
                    <a:lstStyle/>
                    <a:p>
                      <a:r>
                        <a:rPr lang="en-US" sz="1300" b="1" dirty="0" smtClean="0"/>
                        <a:t>Next</a:t>
                      </a:r>
                      <a:r>
                        <a:rPr lang="en-US" sz="1300" b="1" baseline="0" dirty="0" smtClean="0"/>
                        <a:t> Choice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47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1.3%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/>
                        <a:t>Corona</a:t>
                      </a:r>
                      <a:endParaRPr lang="en-US" sz="1300" b="1" dirty="0"/>
                    </a:p>
                  </a:txBody>
                  <a:tcPr marL="87925" marR="87925" marT="43962" marB="43962"/>
                </a:tc>
              </a:tr>
              <a:tr h="293083">
                <a:tc>
                  <a:txBody>
                    <a:bodyPr/>
                    <a:lstStyle/>
                    <a:p>
                      <a:r>
                        <a:rPr lang="en-US" sz="1300" b="1" dirty="0" smtClean="0">
                          <a:solidFill>
                            <a:schemeClr val="tx1"/>
                          </a:solidFill>
                        </a:rPr>
                        <a:t>Gabapentin</a:t>
                      </a:r>
                      <a:endParaRPr lang="en-US" sz="1300" b="1" dirty="0">
                        <a:solidFill>
                          <a:schemeClr val="tx1"/>
                        </a:solidFill>
                      </a:endParaRPr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>
                          <a:solidFill>
                            <a:schemeClr val="tx1"/>
                          </a:solidFill>
                        </a:rPr>
                        <a:t>42</a:t>
                      </a:r>
                      <a:endParaRPr lang="en-US" sz="1300" b="1" dirty="0">
                        <a:solidFill>
                          <a:schemeClr val="tx1"/>
                        </a:solidFill>
                      </a:endParaRPr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>
                          <a:solidFill>
                            <a:schemeClr val="tx1"/>
                          </a:solidFill>
                        </a:rPr>
                        <a:t>1.1%</a:t>
                      </a:r>
                      <a:endParaRPr lang="en-US" sz="1300" b="1" dirty="0">
                        <a:solidFill>
                          <a:schemeClr val="tx1"/>
                        </a:solidFill>
                      </a:endParaRPr>
                    </a:p>
                  </a:txBody>
                  <a:tcPr marL="87925" marR="87925" marT="43962" marB="4396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 smtClean="0">
                          <a:solidFill>
                            <a:schemeClr val="tx1"/>
                          </a:solidFill>
                        </a:rPr>
                        <a:t>Elizabeth</a:t>
                      </a:r>
                      <a:endParaRPr lang="en-US" sz="1300" b="1" dirty="0">
                        <a:solidFill>
                          <a:schemeClr val="tx1"/>
                        </a:solidFill>
                      </a:endParaRPr>
                    </a:p>
                  </a:txBody>
                  <a:tcPr marL="87925" marR="87925" marT="43962" marB="43962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2706551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lgLdM8PU.3RpOJFl7Kn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gN2qQxXkeffAoL7b6e7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JZ98ALIkeye2LzApBNo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a0uWBP3kqucbiiLIBET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1h3.9nGrUWETy3jmdc7h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ouowGyyEqCLzC75Z6d0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PgpDYf3UWjgypwHTRF8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eJS60iaUeAmLopiN7N7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jFfticFkurhZS1r_Xz.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J0PVyYpU2NvxHSOWbHu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j80fboa0q2Mtn5ENJi1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j80fboa0q2Mtn5ENJi1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RC41geykShxbhGB8Jyw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afVJpz4UOPYYT.fdSIt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LNbGIqOEiM_ai99EdJD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C4L2pswEiFy7aFdF21c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PDLmQf_EWuL8zYPdXkC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t6Aj.18EuvFedgBGST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ktT_HuyEO.OYKv2oT2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pRvLbLp06tckrNhlrg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FtjoX8gkuvWBiyi2dE7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lYYM3cfEmGPdVqKZhSI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qjpBRLcEKCgudfMygsc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MH19EGVESzwIyHKtX5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X5u9yR.E.V1OeTln5uc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NCd1SgKU.ro9JSIgtmw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Wt5VpC.kWwEf8Qnq_Y2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eHfBf.REe90LHjpcBac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0u3gS14UuhPiN9pSsQ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NGS4umuUONgrSEraZDr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dizzzDbUCpcDomVZDde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6WGgRr3EKOpsIZGs4ym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nGfzoWEUOcqUyoMFDgz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nFm6_8M0.5Hdl7clabn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vCzCzc0k2eXOm53R.2U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AMgZCG.Uuxn90gMmLbP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KzirT2pUWSeMxe000QT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P1bPhu_EWd1cbGFdANP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93vz4sD0W265uI5IO6v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KiLub4g0iTQV9GL9An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NcZtturECaUITRGn.7f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7OUUJG9UCmWj7jtYNAS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.lkzBpsUGgRSQuFidX3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bFMf4Ig0useruAcofj8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Tz7h_UQ0WGGeTisrTdH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9UdD6JQk6O2UY.HNNAo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NFyd.k3UOlIQmTZb_gq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rhT1adrk2o_YHi89Izn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Uk4dXaCkqYGbsGZcCw_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rZXVocPEmiQnrSi7rl9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iW6YMNjkmRmKqNt457q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fGvyOmOEebyC7kskjQ2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ujCz4Ps0OKCfL9zL9mP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3OgbUQBEm7anxK0vRXl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gFws_LD0anQa_QWEDEw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GLjp2_1Eej3pPoFmBxR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tYUWuMuEmqLm1KtUFKZ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V2ddE23EmM2r9ZXGOJD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EfaAXdCUSewzJScCPO1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UJPZhsh0enkLRLHZXs1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PVTb2OlEyHrg0YWffS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paPzz0tk2tQdHR7Hhsy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UoxW5UxUuXOuh.E_qe2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d9d1Q0L0SPLddsQjKvl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FzIizee0qAb6dCv7uGV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0rKlj7IUuN6E.w1pc5m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7Wjj0rrE6ZRQmdVmv1G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.fewWp1kapvZzGV_Tca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zbo50uY06xyq2TCkI.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eoJqhV9kmJ0g79jxzcJ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t.BzEH.06iWeHttGukt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GtjCOtmE2JzV2SyAj0a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39uhCOF0GWv8DEJDpF_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88B_hee0KXNVGjlQ8YX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pn89KxLEitBEF9FtmaX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YP28fEpkikPazXGfF5s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R7MbsmHE6jdKqit3WRP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0OiLA1pkShUUqX85XlM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TjbWxKCkWxDj2Bs6SnR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jiqeJn5EKSCfjR8xxSD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6FSXjUikeS1AJpTP.Tc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hagG1of02IwwY3_2ixe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OuKnVZSE6yZ0KUauzCh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2JuVH4MUqu2krxlFYF0w"/>
</p:tagLst>
</file>

<file path=ppt/theme/theme1.xml><?xml version="1.0" encoding="utf-8"?>
<a:theme xmlns:a="http://schemas.openxmlformats.org/drawingml/2006/main" name="Actavis_template">
  <a:themeElements>
    <a:clrScheme name="Actavis">
      <a:dk1>
        <a:srgbClr val="53565A"/>
      </a:dk1>
      <a:lt1>
        <a:srgbClr val="FFFFFF"/>
      </a:lt1>
      <a:dk2>
        <a:srgbClr val="6399AE"/>
      </a:dk2>
      <a:lt2>
        <a:srgbClr val="43B02A"/>
      </a:lt2>
      <a:accent1>
        <a:srgbClr val="00AEC7"/>
      </a:accent1>
      <a:accent2>
        <a:srgbClr val="6AD1E3"/>
      </a:accent2>
      <a:accent3>
        <a:srgbClr val="981D97"/>
      </a:accent3>
      <a:accent4>
        <a:srgbClr val="E40046"/>
      </a:accent4>
      <a:accent5>
        <a:srgbClr val="E35205"/>
      </a:accent5>
      <a:accent6>
        <a:srgbClr val="F2A900"/>
      </a:accent6>
      <a:hlink>
        <a:srgbClr val="4C8C2B"/>
      </a:hlink>
      <a:folHlink>
        <a:srgbClr val="003E5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40000"/>
              <a:lumOff val="6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55</TotalTime>
  <Words>1094</Words>
  <Application>Microsoft Office PowerPoint</Application>
  <PresentationFormat>On-screen Show (4:3)</PresentationFormat>
  <Paragraphs>383</Paragraphs>
  <Slides>27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27</vt:i4>
      </vt:variant>
    </vt:vector>
  </HeadingPairs>
  <TitlesOfParts>
    <vt:vector size="31" baseType="lpstr">
      <vt:lpstr>Actavis_template</vt:lpstr>
      <vt:lpstr>Photo Editor Photo</vt:lpstr>
      <vt:lpstr>think-cell Slide</vt:lpstr>
      <vt:lpstr>Chart</vt:lpstr>
      <vt:lpstr>PowerPoint Presentation</vt:lpstr>
      <vt:lpstr>US Generic Industry Update</vt:lpstr>
      <vt:lpstr>Manufacturer Consolidation Top 10~57% US$ Generic Share</vt:lpstr>
      <vt:lpstr>Top Pharmacy Customers in US by estimated Market Share</vt:lpstr>
      <vt:lpstr>Actavis Pharma US Update</vt:lpstr>
      <vt:lpstr>Actavis is the 3rd largest US Generics Company Total Rx Dispensed</vt:lpstr>
      <vt:lpstr>Overall US Generic Strategy</vt:lpstr>
      <vt:lpstr>US Pharma 2013 Top 15 Actavis Customers </vt:lpstr>
      <vt:lpstr>Top 15 Watson Generic Products ~51% of Total Generic Revenue*</vt:lpstr>
      <vt:lpstr>Actavis R&amp;D/BD Update</vt:lpstr>
      <vt:lpstr>We continue to diversify our pipeline into new dosage forms</vt:lpstr>
      <vt:lpstr>Portfolio – The good news!</vt:lpstr>
      <vt:lpstr>PowerPoint Presentation</vt:lpstr>
      <vt:lpstr>PowerPoint Presentation</vt:lpstr>
      <vt:lpstr>Actavis won the race on FTFs in 2013!</vt:lpstr>
      <vt:lpstr>Actavis Leads US First-to-files</vt:lpstr>
      <vt:lpstr>Actavis achieved 41% of all FTFs and 61% of the FTF $ Competing against 100+ Gx companies</vt:lpstr>
      <vt:lpstr>How do we win in this extremely competitive market?</vt:lpstr>
      <vt:lpstr>PowerPoint Presentation</vt:lpstr>
      <vt:lpstr>It Starts with Collaboration</vt:lpstr>
      <vt:lpstr>Our Strengths</vt:lpstr>
      <vt:lpstr>Where does Elizabeth fit in the Puzzle?</vt:lpstr>
      <vt:lpstr>Elizabeth Sales by Product</vt:lpstr>
      <vt:lpstr>Our success is due to your collaboration and support.  Thanks for all your hard work!!</vt:lpstr>
      <vt:lpstr>PowerPoint Presentation</vt:lpstr>
      <vt:lpstr>US Pharma 2014 Commercial Upside Opportunities</vt:lpstr>
      <vt:lpstr>US Pharma 2014 Commercial Downside Risks</vt:lpstr>
    </vt:vector>
  </TitlesOfParts>
  <Company>Watson Pharmaceuticals, In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vanstee</dc:creator>
  <cp:lastModifiedBy>Andrew S Boyer</cp:lastModifiedBy>
  <cp:revision>198</cp:revision>
  <dcterms:created xsi:type="dcterms:W3CDTF">2013-01-28T16:32:37Z</dcterms:created>
  <dcterms:modified xsi:type="dcterms:W3CDTF">2014-04-04T15:28:29Z</dcterms:modified>
</cp:coreProperties>
</file>